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MOV" ContentType="video/unknown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Default Extension="mp4" ContentType="video/unknown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sldIdLst>
    <p:sldId id="258" r:id="rId2"/>
    <p:sldId id="272" r:id="rId3"/>
    <p:sldId id="280" r:id="rId4"/>
    <p:sldId id="274" r:id="rId5"/>
    <p:sldId id="292" r:id="rId6"/>
    <p:sldId id="275" r:id="rId7"/>
    <p:sldId id="279" r:id="rId8"/>
    <p:sldId id="273" r:id="rId9"/>
    <p:sldId id="281" r:id="rId10"/>
    <p:sldId id="260" r:id="rId11"/>
    <p:sldId id="285" r:id="rId12"/>
    <p:sldId id="282" r:id="rId13"/>
    <p:sldId id="283" r:id="rId14"/>
    <p:sldId id="284" r:id="rId15"/>
    <p:sldId id="286" r:id="rId16"/>
    <p:sldId id="303" r:id="rId17"/>
    <p:sldId id="287" r:id="rId18"/>
    <p:sldId id="288" r:id="rId19"/>
    <p:sldId id="289" r:id="rId20"/>
    <p:sldId id="307" r:id="rId21"/>
    <p:sldId id="290" r:id="rId22"/>
    <p:sldId id="291" r:id="rId23"/>
    <p:sldId id="293" r:id="rId24"/>
    <p:sldId id="294" r:id="rId25"/>
    <p:sldId id="270" r:id="rId26"/>
    <p:sldId id="297" r:id="rId27"/>
    <p:sldId id="298" r:id="rId28"/>
    <p:sldId id="296" r:id="rId29"/>
    <p:sldId id="295" r:id="rId30"/>
    <p:sldId id="300" r:id="rId31"/>
    <p:sldId id="302" r:id="rId32"/>
    <p:sldId id="305" r:id="rId33"/>
    <p:sldId id="306" r:id="rId34"/>
    <p:sldId id="304" r:id="rId35"/>
    <p:sldId id="299" r:id="rId36"/>
  </p:sldIdLst>
  <p:sldSz cx="12192000" cy="6858000"/>
  <p:notesSz cx="6858000" cy="9144000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2" pos="2616" userDrawn="1">
          <p15:clr>
            <a:srgbClr val="A4A3A4"/>
          </p15:clr>
        </p15:guide>
        <p15:guide id="3" orient="horz" pos="22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FFFF"/>
    <a:srgbClr val="FFFF99"/>
    <a:srgbClr val="33CCFF"/>
    <a:srgbClr val="9999FF"/>
    <a:srgbClr val="C400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4" autoAdjust="0"/>
    <p:restoredTop sz="87921" autoAdjust="0"/>
  </p:normalViewPr>
  <p:slideViewPr>
    <p:cSldViewPr snapToGrid="0" showGuides="1">
      <p:cViewPr varScale="1">
        <p:scale>
          <a:sx n="63" d="100"/>
          <a:sy n="63" d="100"/>
        </p:scale>
        <p:origin x="-138" y="-132"/>
      </p:cViewPr>
      <p:guideLst>
        <p:guide orient="horz" pos="2256"/>
        <p:guide pos="261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0D0878-2761-4542-A5BC-26F738EB0A9C}" type="datetimeFigureOut">
              <a:rPr lang="en-US" smtClean="0"/>
              <a:t>9/5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0C8F7-FE47-499E-AA6A-6F65C8B83C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0652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angkokbiznews.com/blog/detail/616084#sthash.jJdPWjnl.dpuf" TargetMode="External"/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://www.webs.com/blog/2014/06/06/creative-small-businesses-funding-solutions/" TargetMode="External"/><Relationship Id="rId4" Type="http://schemas.openxmlformats.org/officeDocument/2006/relationships/hyperlink" Target="http://www.nationaljournal.com/next-economy/solutions-bank/would-you-pay-1-000-once-to-get-free-beer-for-life-20140529" TargetMode="Externa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0C8F7-FE47-499E-AA6A-6F65C8B83C0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9165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รวยลัด (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ICHFICIENCY (RICH+SUFFICIECNY) </a:t>
            </a:r>
          </a:p>
          <a:p>
            <a:pPr marL="228600" indent="-228600">
              <a:buAutoNum type="arabicPeriod"/>
            </a:pP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ผู้บริโภครุ่นใหม่ จะไม่ยอมอดทนกับสิ่งที่ตัวเองไม่ชอบ หรือรู้สึกไม่ใช่ 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มีความเป็นตัวของตัวเองสูง 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ต้องการรวยด้วยตัวเอง หรือรวยทางลัด 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ความต้องการในการทำงานออฟฟิศน้อยลง </a:t>
            </a:r>
            <a:r>
              <a:rPr lang="th-TH" dirty="0" smtClean="0"/>
              <a:t/>
            </a:r>
            <a:br>
              <a:rPr lang="th-TH" dirty="0" smtClean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0C8F7-FE47-499E-AA6A-6F65C8B83C0E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5402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ซื้อน้อยแต่ได้เยอะ (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ASEMORE (EASY+MORE)) 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ทุกวันนี้ผู้บริโภคคุ้นชินกับอะไรที่ไม่ต้องพกพะรุงพะรัง มีเพียงอันเดียวทำได้ทุกอย่าง เช่น โทรศัพท์มือถือ เป็นทุกอย่างของชีวิต ไม่ว่าจะใช้ติดต่อ ดูหนัง ละคร ฟังเพลง ถ่ายรูป เป็นกระเป๋าสตางค์ เป็นสมุดบันทึก เป็นเพื่อนคุย เพื่อนร่วมทาง สารพัดประโยชน์ในเครื่องเดียว ผู้บริโภคจึงจะติดกับของ 1 ชิ้น แต่สารพัดประโยชน์ เพราะฉะนั้น ผลิตภัณฑ์ต่างๆ ต้องมองนอกกรอบออกไป สร้างนวัตกรรมที่ใช้ง่าย สร้างความสะดวกต่อชีวิตประจำวันผู้บริโภค ใช้ประโยชน์หลายอย่างมากขึ้น 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0C8F7-FE47-499E-AA6A-6F65C8B83C0E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7848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รวยลัด (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ICHFICIENCY (RICH+SUFFICIECNY) </a:t>
            </a:r>
          </a:p>
          <a:p>
            <a:pPr marL="228600" indent="-228600">
              <a:buAutoNum type="arabicPeriod"/>
            </a:pP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ผู้บริโภครุ่นใหม่ จะไม่ยอมอดทนกับสิ่งที่ตัวเองไม่ชอบ หรือรู้สึกไม่ใช่ 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มีความเป็นตัวของตัวเองสูง 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ต้องการรวยด้วยตัวเอง หรือรวยทางลัด 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ความต้องการในการทำงานออฟฟิศน้อยลง </a:t>
            </a:r>
            <a:r>
              <a:rPr lang="th-TH" dirty="0" smtClean="0"/>
              <a:t/>
            </a:r>
            <a:br>
              <a:rPr lang="th-TH" dirty="0" smtClean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0C8F7-FE47-499E-AA6A-6F65C8B83C0E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260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รวยลัด (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ICHFICIENCY (RICH+SUFFICIECNY) </a:t>
            </a:r>
          </a:p>
          <a:p>
            <a:pPr marL="228600" indent="-228600">
              <a:buAutoNum type="arabicPeriod"/>
            </a:pP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ผู้บริโภครุ่นใหม่ จะไม่ยอมอดทนกับสิ่งที่ตัวเองไม่ชอบ หรือรู้สึกไม่ใช่ 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มีความเป็นตัวของตัวเองสูง 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ต้องการรวยด้วยตัวเอง หรือรวยทางลัด 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ความต้องการในการทำงานออฟฟิศน้อยลง </a:t>
            </a:r>
            <a:r>
              <a:rPr lang="th-TH" dirty="0" smtClean="0"/>
              <a:t/>
            </a:r>
            <a:br>
              <a:rPr lang="th-TH" dirty="0" smtClean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0C8F7-FE47-499E-AA6A-6F65C8B83C0E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0990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31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31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5400" y="744538"/>
            <a:ext cx="6619875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88548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1" name="Shape 1171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1172" name="Shape 1172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pPr lvl="0" indent="457200" defTabSz="914400">
              <a:lnSpc>
                <a:spcPct val="100000"/>
              </a:lnSpc>
              <a:spcBef>
                <a:spcPts val="600"/>
              </a:spcBef>
              <a:defRPr sz="1800"/>
            </a:pPr>
            <a:r>
              <a:rPr sz="1000">
                <a:solidFill>
                  <a:srgbClr val="158158"/>
                </a:solidFill>
              </a:rPr>
              <a:t>อีกตัวอย่างหนึ่งที่เห็นได้ชัดคือร้านอาหารชื่อ Northbound Smokehouse &amp; Brewpub ในเมือง Minneapolis สหรัฐอเมริกา เสนอให้แขกดื่มเบียร์ฟรีตลอดชีวิตถ้าหากเขาลงทุน 1,000 ดอลลาร์ในกิจการของร้าน ผลสุดท้ายร้าน Northbound Smokehouse &amp; Brewpub ได้เงินไป 220,000 ดอลลาร์ไปค้ำประกันเงินกู้จากธนาคาร และร้านก็ยังอยู่ดีมา 2 ปีแล้ว ผู้ลงทุนก็มาดื่มกินตามปกติ ไม่ได้ดื่มเบียร์จนร้านเจ๊งไปแต่อย่างใด ในทางกลับกันลูกค้าขาประจำกลับเพิ่มขึ้นเพราะการเป็นผู้ลงทุนของร้าน </a:t>
            </a:r>
          </a:p>
          <a:p>
            <a:pPr lvl="0" defTabSz="914400">
              <a:lnSpc>
                <a:spcPct val="100000"/>
              </a:lnSpc>
              <a:spcBef>
                <a:spcPts val="600"/>
              </a:spcBef>
              <a:defRPr sz="1800"/>
            </a:pPr>
            <a:r>
              <a:rPr sz="1000">
                <a:solidFill>
                  <a:srgbClr val="1155CC"/>
                </a:solidFill>
                <a:uFill>
                  <a:solidFill>
                    <a:srgbClr val="1155CC"/>
                  </a:solidFill>
                </a:uFill>
                <a:hlinkClick r:id="rId3"/>
              </a:rPr>
              <a:t>http://www.bangkokbiznews.com/blog/detail/616084#sthash.jJdPWjnl.dpuf</a:t>
            </a:r>
          </a:p>
          <a:p>
            <a:pPr lvl="0" defTabSz="914400">
              <a:lnSpc>
                <a:spcPct val="100000"/>
              </a:lnSpc>
              <a:spcBef>
                <a:spcPts val="600"/>
              </a:spcBef>
              <a:defRPr sz="1800"/>
            </a:pPr>
            <a:r>
              <a:rPr sz="1000">
                <a:solidFill>
                  <a:srgbClr val="1155CC"/>
                </a:solidFill>
                <a:uFill>
                  <a:solidFill>
                    <a:srgbClr val="1155CC"/>
                  </a:solidFill>
                </a:uFill>
                <a:hlinkClick r:id="rId4"/>
              </a:rPr>
              <a:t>http://www.nationaljournal.com/next-economy/solutions-bank/would-you-pay-1-000-once-to-get-free-beer-for-life-20140529</a:t>
            </a:r>
          </a:p>
          <a:p>
            <a:pPr lvl="0" defTabSz="914400">
              <a:lnSpc>
                <a:spcPct val="100000"/>
              </a:lnSpc>
              <a:spcBef>
                <a:spcPts val="600"/>
              </a:spcBef>
              <a:defRPr sz="1800"/>
            </a:pPr>
            <a:r>
              <a:rPr sz="1000">
                <a:solidFill>
                  <a:srgbClr val="1155CC"/>
                </a:solidFill>
                <a:uFill>
                  <a:solidFill>
                    <a:srgbClr val="1155CC"/>
                  </a:solidFill>
                </a:uFill>
                <a:hlinkClick r:id="rId5"/>
              </a:rPr>
              <a:t>http://www.webs.com/blog/2014/06/06/creative-small-businesses-funding-solutions/</a:t>
            </a:r>
          </a:p>
        </p:txBody>
      </p:sp>
    </p:spTree>
    <p:extLst>
      <p:ext uri="{BB962C8B-B14F-4D97-AF65-F5344CB8AC3E}">
        <p14:creationId xmlns:p14="http://schemas.microsoft.com/office/powerpoint/2010/main" val="25667068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" name="Shape 1177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1178" name="Shape 1178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>
            <a:lvl1pPr defTabSz="914400">
              <a:lnSpc>
                <a:spcPct val="100000"/>
              </a:lnSpc>
              <a:defRPr sz="1800"/>
            </a:lvl1pPr>
          </a:lstStyle>
          <a:p>
            <a:pPr lvl="0"/>
            <a:r>
              <a:t>http://timesofindia.indiatimes.com/city/chandigarh/Ignored-by-govts-Haryana-villagers-crowdfund-Rs-1cr-bridge/articleshow/47888671.cms</a:t>
            </a:r>
          </a:p>
        </p:txBody>
      </p:sp>
    </p:spTree>
    <p:extLst>
      <p:ext uri="{BB962C8B-B14F-4D97-AF65-F5344CB8AC3E}">
        <p14:creationId xmlns:p14="http://schemas.microsoft.com/office/powerpoint/2010/main" val="20488832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0C8F7-FE47-499E-AA6A-6F65C8B83C0E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9779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50C93-0E8F-466C-8B41-B255075590FB}" type="datetimeFigureOut">
              <a:rPr lang="en-US" smtClean="0"/>
              <a:t>9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8D57C-C57F-4B69-8DA1-C812CE90C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1781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50C93-0E8F-466C-8B41-B255075590FB}" type="datetimeFigureOut">
              <a:rPr lang="en-US" smtClean="0"/>
              <a:t>9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8D57C-C57F-4B69-8DA1-C812CE90C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4351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50C93-0E8F-466C-8B41-B255075590FB}" type="datetimeFigureOut">
              <a:rPr lang="en-US" smtClean="0"/>
              <a:t>9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8D57C-C57F-4B69-8DA1-C812CE90C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808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42" y="238543"/>
            <a:ext cx="11543103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24041" y="854994"/>
            <a:ext cx="11543103" cy="336244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73F149-83C4-4179-9681-702531CCFDAC}" type="datetimeFigureOut">
              <a:rPr lang="de-DE" smtClean="0"/>
              <a:pPr/>
              <a:t>05.09.2015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DC1E638-3F78-4E0D-883A-B278700C48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267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3F149-83C4-4179-9681-702531CCFDAC}" type="datetimeFigureOut">
              <a:rPr lang="de-DE" smtClean="0"/>
              <a:pPr/>
              <a:t>05.09.2015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1E638-3F78-4E0D-883A-B278700C48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4709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Shape 11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1800"/>
              <a:t>Title Text</a:t>
            </a:r>
          </a:p>
        </p:txBody>
      </p:sp>
      <p:sp>
        <p:nvSpPr>
          <p:cNvPr id="120" name="Shape 120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1800"/>
              <a:t>Body Level One</a:t>
            </a:r>
          </a:p>
          <a:p>
            <a:pPr lvl="1">
              <a:defRPr sz="1800"/>
            </a:pPr>
            <a:r>
              <a:rPr sz="1800"/>
              <a:t>Body Level Two</a:t>
            </a:r>
          </a:p>
          <a:p>
            <a:pPr lvl="2">
              <a:defRPr sz="1800"/>
            </a:pPr>
            <a:r>
              <a:rPr sz="1800"/>
              <a:t>Body Level Three</a:t>
            </a:r>
          </a:p>
          <a:p>
            <a:pPr lvl="3">
              <a:defRPr sz="1800"/>
            </a:pPr>
            <a:r>
              <a:rPr sz="1800"/>
              <a:t>Body Level Four</a:t>
            </a:r>
          </a:p>
          <a:p>
            <a:pPr lvl="4">
              <a:defRPr sz="1800"/>
            </a:pPr>
            <a:r>
              <a:rPr sz="1800"/>
              <a:t>Body Level Five</a:t>
            </a:r>
          </a:p>
        </p:txBody>
      </p:sp>
      <p:sp>
        <p:nvSpPr>
          <p:cNvPr id="121" name="Shape 12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11871936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50C93-0E8F-466C-8B41-B255075590FB}" type="datetimeFigureOut">
              <a:rPr lang="en-US" smtClean="0"/>
              <a:t>9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8D57C-C57F-4B69-8DA1-C812CE90C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6978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50C93-0E8F-466C-8B41-B255075590FB}" type="datetimeFigureOut">
              <a:rPr lang="en-US" smtClean="0"/>
              <a:t>9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8D57C-C57F-4B69-8DA1-C812CE90C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218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50C93-0E8F-466C-8B41-B255075590FB}" type="datetimeFigureOut">
              <a:rPr lang="en-US" smtClean="0"/>
              <a:t>9/5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8D57C-C57F-4B69-8DA1-C812CE90C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1910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50C93-0E8F-466C-8B41-B255075590FB}" type="datetimeFigureOut">
              <a:rPr lang="en-US" smtClean="0"/>
              <a:t>9/5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8D57C-C57F-4B69-8DA1-C812CE90C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67751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50C93-0E8F-466C-8B41-B255075590FB}" type="datetimeFigureOut">
              <a:rPr lang="en-US" smtClean="0"/>
              <a:t>9/5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8D57C-C57F-4B69-8DA1-C812CE90C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1187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50C93-0E8F-466C-8B41-B255075590FB}" type="datetimeFigureOut">
              <a:rPr lang="en-US" smtClean="0"/>
              <a:t>9/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8D57C-C57F-4B69-8DA1-C812CE90C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255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50C93-0E8F-466C-8B41-B255075590FB}" type="datetimeFigureOut">
              <a:rPr lang="en-US" smtClean="0"/>
              <a:t>9/5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8D57C-C57F-4B69-8DA1-C812CE90C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9147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50C93-0E8F-466C-8B41-B255075590FB}" type="datetimeFigureOut">
              <a:rPr lang="en-US" smtClean="0"/>
              <a:t>9/5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8D57C-C57F-4B69-8DA1-C812CE90C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1186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9059022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2" name="think-cell Slide" r:id="rId18" imgW="493" imgH="493" progId="TCLayout.ActiveDocument.1">
                  <p:embed/>
                </p:oleObj>
              </mc:Choice>
              <mc:Fallback>
                <p:oleObj name="think-cell Slide" r:id="rId18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B50C93-0E8F-466C-8B41-B255075590FB}" type="datetimeFigureOut">
              <a:rPr lang="en-US" smtClean="0"/>
              <a:t>9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48D57C-C57F-4B69-8DA1-C812CE90C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087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gi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e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2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37.png"/><Relationship Id="rId4" Type="http://schemas.openxmlformats.org/officeDocument/2006/relationships/notesSlide" Target="../notesSlides/notesSlide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7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8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png"/><Relationship Id="rId5" Type="http://schemas.openxmlformats.org/officeDocument/2006/relationships/image" Target="../media/image5.JPG"/><Relationship Id="rId4" Type="http://schemas.openxmlformats.org/officeDocument/2006/relationships/image" Target="../media/image11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png"/><Relationship Id="rId4" Type="http://schemas.openxmlformats.org/officeDocument/2006/relationships/image" Target="../media/image5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jpeg"/><Relationship Id="rId5" Type="http://schemas.openxmlformats.org/officeDocument/2006/relationships/image" Target="../media/image3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jpeg"/><Relationship Id="rId5" Type="http://schemas.openxmlformats.org/officeDocument/2006/relationships/image" Target="../media/image19.png"/><Relationship Id="rId4" Type="http://schemas.openxmlformats.org/officeDocument/2006/relationships/image" Target="../media/image5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5" Type="http://schemas.openxmlformats.org/officeDocument/2006/relationships/image" Target="../media/image3.png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91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4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 descr="http://i.huffpost.com/gen/1103859/images/o-MILLENNIAL-facebook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266" b="349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loud Callout 3"/>
          <p:cNvSpPr/>
          <p:nvPr/>
        </p:nvSpPr>
        <p:spPr>
          <a:xfrm>
            <a:off x="847189" y="457200"/>
            <a:ext cx="5248811" cy="2864114"/>
          </a:xfrm>
          <a:prstGeom prst="cloudCallout">
            <a:avLst>
              <a:gd name="adj1" fmla="val -43279"/>
              <a:gd name="adj2" fmla="val 9783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loud Callout 5"/>
          <p:cNvSpPr/>
          <p:nvPr/>
        </p:nvSpPr>
        <p:spPr>
          <a:xfrm flipH="1">
            <a:off x="4248121" y="919172"/>
            <a:ext cx="3695758" cy="2166591"/>
          </a:xfrm>
          <a:prstGeom prst="cloudCallout">
            <a:avLst>
              <a:gd name="adj1" fmla="val 495"/>
              <a:gd name="adj2" fmla="val 9377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loud Callout 6"/>
          <p:cNvSpPr/>
          <p:nvPr/>
        </p:nvSpPr>
        <p:spPr>
          <a:xfrm rot="20475171" flipH="1">
            <a:off x="7273452" y="444160"/>
            <a:ext cx="4225259" cy="2890193"/>
          </a:xfrm>
          <a:prstGeom prst="cloudCallout">
            <a:avLst>
              <a:gd name="adj1" fmla="val -17912"/>
              <a:gd name="adj2" fmla="val 8746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1925712" y="1679303"/>
            <a:ext cx="867769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/>
              <a:t>NEW Gen &amp; Explosive Business Opportunitie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496932" y="2674983"/>
            <a:ext cx="236577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 smtClean="0"/>
              <a:t>Karndee</a:t>
            </a:r>
            <a:r>
              <a:rPr lang="en-US" b="1" dirty="0" smtClean="0"/>
              <a:t> </a:t>
            </a:r>
            <a:r>
              <a:rPr lang="en-US" b="1" dirty="0" err="1" smtClean="0"/>
              <a:t>Leopairote</a:t>
            </a:r>
            <a:endParaRPr lang="en-US" b="1" dirty="0" smtClean="0"/>
          </a:p>
          <a:p>
            <a:r>
              <a:rPr lang="en-US" dirty="0" smtClean="0"/>
              <a:t>Karndee.l@c-asean.org</a:t>
            </a:r>
          </a:p>
        </p:txBody>
      </p:sp>
    </p:spTree>
    <p:extLst>
      <p:ext uri="{BB962C8B-B14F-4D97-AF65-F5344CB8AC3E}">
        <p14:creationId xmlns:p14="http://schemas.microsoft.com/office/powerpoint/2010/main" val="671497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3123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9999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Freeform 7"/>
          <p:cNvSpPr>
            <a:spLocks noEditPoints="1"/>
          </p:cNvSpPr>
          <p:nvPr/>
        </p:nvSpPr>
        <p:spPr bwMode="auto">
          <a:xfrm>
            <a:off x="4620985" y="3374703"/>
            <a:ext cx="6969029" cy="3483297"/>
          </a:xfrm>
          <a:custGeom>
            <a:avLst/>
            <a:gdLst>
              <a:gd name="T0" fmla="*/ 1211 w 2422"/>
              <a:gd name="T1" fmla="*/ 0 h 1211"/>
              <a:gd name="T2" fmla="*/ 0 w 2422"/>
              <a:gd name="T3" fmla="*/ 1211 h 1211"/>
              <a:gd name="T4" fmla="*/ 0 w 2422"/>
              <a:gd name="T5" fmla="*/ 1211 h 1211"/>
              <a:gd name="T6" fmla="*/ 88 w 2422"/>
              <a:gd name="T7" fmla="*/ 1211 h 1211"/>
              <a:gd name="T8" fmla="*/ 88 w 2422"/>
              <a:gd name="T9" fmla="*/ 1211 h 1211"/>
              <a:gd name="T10" fmla="*/ 88 w 2422"/>
              <a:gd name="T11" fmla="*/ 1163 h 1211"/>
              <a:gd name="T12" fmla="*/ 151 w 2422"/>
              <a:gd name="T13" fmla="*/ 1211 h 1211"/>
              <a:gd name="T14" fmla="*/ 284 w 2422"/>
              <a:gd name="T15" fmla="*/ 1211 h 1211"/>
              <a:gd name="T16" fmla="*/ 287 w 2422"/>
              <a:gd name="T17" fmla="*/ 1136 h 1211"/>
              <a:gd name="T18" fmla="*/ 622 w 2422"/>
              <a:gd name="T19" fmla="*/ 978 h 1211"/>
              <a:gd name="T20" fmla="*/ 698 w 2422"/>
              <a:gd name="T21" fmla="*/ 1040 h 1211"/>
              <a:gd name="T22" fmla="*/ 704 w 2422"/>
              <a:gd name="T23" fmla="*/ 1108 h 1211"/>
              <a:gd name="T24" fmla="*/ 745 w 2422"/>
              <a:gd name="T25" fmla="*/ 1122 h 1211"/>
              <a:gd name="T26" fmla="*/ 752 w 2422"/>
              <a:gd name="T27" fmla="*/ 1067 h 1211"/>
              <a:gd name="T28" fmla="*/ 766 w 2422"/>
              <a:gd name="T29" fmla="*/ 999 h 1211"/>
              <a:gd name="T30" fmla="*/ 821 w 2422"/>
              <a:gd name="T31" fmla="*/ 876 h 1211"/>
              <a:gd name="T32" fmla="*/ 985 w 2422"/>
              <a:gd name="T33" fmla="*/ 684 h 1211"/>
              <a:gd name="T34" fmla="*/ 1033 w 2422"/>
              <a:gd name="T35" fmla="*/ 636 h 1211"/>
              <a:gd name="T36" fmla="*/ 1081 w 2422"/>
              <a:gd name="T37" fmla="*/ 588 h 1211"/>
              <a:gd name="T38" fmla="*/ 1108 w 2422"/>
              <a:gd name="T39" fmla="*/ 588 h 1211"/>
              <a:gd name="T40" fmla="*/ 1532 w 2422"/>
              <a:gd name="T41" fmla="*/ 342 h 1211"/>
              <a:gd name="T42" fmla="*/ 1355 w 2422"/>
              <a:gd name="T43" fmla="*/ 219 h 1211"/>
              <a:gd name="T44" fmla="*/ 1471 w 2422"/>
              <a:gd name="T45" fmla="*/ 219 h 1211"/>
              <a:gd name="T46" fmla="*/ 1409 w 2422"/>
              <a:gd name="T47" fmla="*/ 109 h 1211"/>
              <a:gd name="T48" fmla="*/ 2319 w 2422"/>
              <a:gd name="T49" fmla="*/ 1047 h 1211"/>
              <a:gd name="T50" fmla="*/ 2265 w 2422"/>
              <a:gd name="T51" fmla="*/ 978 h 1211"/>
              <a:gd name="T52" fmla="*/ 2241 w 2422"/>
              <a:gd name="T53" fmla="*/ 1211 h 1211"/>
              <a:gd name="T54" fmla="*/ 2422 w 2422"/>
              <a:gd name="T55" fmla="*/ 1211 h 1211"/>
              <a:gd name="T56" fmla="*/ 2422 w 2422"/>
              <a:gd name="T57" fmla="*/ 1211 h 1211"/>
              <a:gd name="T58" fmla="*/ 1211 w 2422"/>
              <a:gd name="T59" fmla="*/ 0 h 1211"/>
              <a:gd name="T60" fmla="*/ 896 w 2422"/>
              <a:gd name="T61" fmla="*/ 137 h 1211"/>
              <a:gd name="T62" fmla="*/ 807 w 2422"/>
              <a:gd name="T63" fmla="*/ 219 h 1211"/>
              <a:gd name="T64" fmla="*/ 773 w 2422"/>
              <a:gd name="T65" fmla="*/ 219 h 1211"/>
              <a:gd name="T66" fmla="*/ 691 w 2422"/>
              <a:gd name="T67" fmla="*/ 219 h 1211"/>
              <a:gd name="T68" fmla="*/ 896 w 2422"/>
              <a:gd name="T69" fmla="*/ 137 h 1211"/>
              <a:gd name="T70" fmla="*/ 923 w 2422"/>
              <a:gd name="T71" fmla="*/ 527 h 1211"/>
              <a:gd name="T72" fmla="*/ 869 w 2422"/>
              <a:gd name="T73" fmla="*/ 554 h 1211"/>
              <a:gd name="T74" fmla="*/ 807 w 2422"/>
              <a:gd name="T75" fmla="*/ 527 h 1211"/>
              <a:gd name="T76" fmla="*/ 773 w 2422"/>
              <a:gd name="T77" fmla="*/ 677 h 1211"/>
              <a:gd name="T78" fmla="*/ 745 w 2422"/>
              <a:gd name="T79" fmla="*/ 643 h 1211"/>
              <a:gd name="T80" fmla="*/ 711 w 2422"/>
              <a:gd name="T81" fmla="*/ 554 h 1211"/>
              <a:gd name="T82" fmla="*/ 745 w 2422"/>
              <a:gd name="T83" fmla="*/ 465 h 1211"/>
              <a:gd name="T84" fmla="*/ 650 w 2422"/>
              <a:gd name="T85" fmla="*/ 554 h 1211"/>
              <a:gd name="T86" fmla="*/ 684 w 2422"/>
              <a:gd name="T87" fmla="*/ 465 h 1211"/>
              <a:gd name="T88" fmla="*/ 533 w 2422"/>
              <a:gd name="T89" fmla="*/ 527 h 1211"/>
              <a:gd name="T90" fmla="*/ 499 w 2422"/>
              <a:gd name="T91" fmla="*/ 465 h 1211"/>
              <a:gd name="T92" fmla="*/ 684 w 2422"/>
              <a:gd name="T93" fmla="*/ 369 h 1211"/>
              <a:gd name="T94" fmla="*/ 745 w 2422"/>
              <a:gd name="T95" fmla="*/ 431 h 1211"/>
              <a:gd name="T96" fmla="*/ 773 w 2422"/>
              <a:gd name="T97" fmla="*/ 403 h 1211"/>
              <a:gd name="T98" fmla="*/ 923 w 2422"/>
              <a:gd name="T99" fmla="*/ 465 h 1211"/>
              <a:gd name="T100" fmla="*/ 923 w 2422"/>
              <a:gd name="T101" fmla="*/ 527 h 1211"/>
              <a:gd name="T102" fmla="*/ 1081 w 2422"/>
              <a:gd name="T103" fmla="*/ 315 h 1211"/>
              <a:gd name="T104" fmla="*/ 1019 w 2422"/>
              <a:gd name="T105" fmla="*/ 280 h 1211"/>
              <a:gd name="T106" fmla="*/ 896 w 2422"/>
              <a:gd name="T107" fmla="*/ 253 h 1211"/>
              <a:gd name="T108" fmla="*/ 985 w 2422"/>
              <a:gd name="T109" fmla="*/ 130 h 1211"/>
              <a:gd name="T110" fmla="*/ 978 w 2422"/>
              <a:gd name="T111" fmla="*/ 116 h 1211"/>
              <a:gd name="T112" fmla="*/ 1211 w 2422"/>
              <a:gd name="T113" fmla="*/ 96 h 1211"/>
              <a:gd name="T114" fmla="*/ 1259 w 2422"/>
              <a:gd name="T115" fmla="*/ 96 h 1211"/>
              <a:gd name="T116" fmla="*/ 1320 w 2422"/>
              <a:gd name="T117" fmla="*/ 157 h 1211"/>
              <a:gd name="T118" fmla="*/ 1081 w 2422"/>
              <a:gd name="T119" fmla="*/ 315 h 1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422" h="1211">
                <a:moveTo>
                  <a:pt x="1211" y="0"/>
                </a:moveTo>
                <a:cubicBezTo>
                  <a:pt x="540" y="0"/>
                  <a:pt x="0" y="547"/>
                  <a:pt x="0" y="1211"/>
                </a:cubicBezTo>
                <a:cubicBezTo>
                  <a:pt x="0" y="1211"/>
                  <a:pt x="0" y="1211"/>
                  <a:pt x="0" y="1211"/>
                </a:cubicBezTo>
                <a:cubicBezTo>
                  <a:pt x="88" y="1211"/>
                  <a:pt x="88" y="1211"/>
                  <a:pt x="88" y="1211"/>
                </a:cubicBezTo>
                <a:cubicBezTo>
                  <a:pt x="88" y="1211"/>
                  <a:pt x="88" y="1211"/>
                  <a:pt x="88" y="1211"/>
                </a:cubicBezTo>
                <a:cubicBezTo>
                  <a:pt x="88" y="1197"/>
                  <a:pt x="88" y="1184"/>
                  <a:pt x="88" y="1163"/>
                </a:cubicBezTo>
                <a:cubicBezTo>
                  <a:pt x="123" y="1165"/>
                  <a:pt x="141" y="1184"/>
                  <a:pt x="151" y="1211"/>
                </a:cubicBezTo>
                <a:cubicBezTo>
                  <a:pt x="284" y="1211"/>
                  <a:pt x="284" y="1211"/>
                  <a:pt x="284" y="1211"/>
                </a:cubicBezTo>
                <a:cubicBezTo>
                  <a:pt x="283" y="1187"/>
                  <a:pt x="284" y="1162"/>
                  <a:pt x="287" y="1136"/>
                </a:cubicBezTo>
                <a:cubicBezTo>
                  <a:pt x="396" y="1019"/>
                  <a:pt x="492" y="1033"/>
                  <a:pt x="622" y="978"/>
                </a:cubicBezTo>
                <a:cubicBezTo>
                  <a:pt x="656" y="978"/>
                  <a:pt x="691" y="1006"/>
                  <a:pt x="698" y="1040"/>
                </a:cubicBezTo>
                <a:cubicBezTo>
                  <a:pt x="704" y="1060"/>
                  <a:pt x="704" y="1088"/>
                  <a:pt x="704" y="1108"/>
                </a:cubicBezTo>
                <a:cubicBezTo>
                  <a:pt x="711" y="1136"/>
                  <a:pt x="725" y="1149"/>
                  <a:pt x="745" y="1122"/>
                </a:cubicBezTo>
                <a:cubicBezTo>
                  <a:pt x="759" y="1108"/>
                  <a:pt x="752" y="1081"/>
                  <a:pt x="752" y="1067"/>
                </a:cubicBezTo>
                <a:cubicBezTo>
                  <a:pt x="752" y="1040"/>
                  <a:pt x="759" y="1019"/>
                  <a:pt x="766" y="999"/>
                </a:cubicBezTo>
                <a:cubicBezTo>
                  <a:pt x="780" y="951"/>
                  <a:pt x="793" y="910"/>
                  <a:pt x="821" y="876"/>
                </a:cubicBezTo>
                <a:cubicBezTo>
                  <a:pt x="862" y="800"/>
                  <a:pt x="923" y="746"/>
                  <a:pt x="985" y="684"/>
                </a:cubicBezTo>
                <a:cubicBezTo>
                  <a:pt x="999" y="670"/>
                  <a:pt x="1019" y="650"/>
                  <a:pt x="1033" y="636"/>
                </a:cubicBezTo>
                <a:cubicBezTo>
                  <a:pt x="1040" y="629"/>
                  <a:pt x="1067" y="588"/>
                  <a:pt x="1081" y="588"/>
                </a:cubicBezTo>
                <a:cubicBezTo>
                  <a:pt x="1088" y="588"/>
                  <a:pt x="1101" y="588"/>
                  <a:pt x="1108" y="588"/>
                </a:cubicBezTo>
                <a:cubicBezTo>
                  <a:pt x="1361" y="554"/>
                  <a:pt x="1361" y="403"/>
                  <a:pt x="1532" y="342"/>
                </a:cubicBezTo>
                <a:cubicBezTo>
                  <a:pt x="1498" y="280"/>
                  <a:pt x="1437" y="239"/>
                  <a:pt x="1355" y="219"/>
                </a:cubicBezTo>
                <a:cubicBezTo>
                  <a:pt x="1355" y="143"/>
                  <a:pt x="1457" y="212"/>
                  <a:pt x="1471" y="219"/>
                </a:cubicBezTo>
                <a:cubicBezTo>
                  <a:pt x="1512" y="205"/>
                  <a:pt x="1471" y="143"/>
                  <a:pt x="1409" y="109"/>
                </a:cubicBezTo>
                <a:cubicBezTo>
                  <a:pt x="1881" y="198"/>
                  <a:pt x="2244" y="575"/>
                  <a:pt x="2319" y="1047"/>
                </a:cubicBezTo>
                <a:cubicBezTo>
                  <a:pt x="2306" y="1019"/>
                  <a:pt x="2292" y="992"/>
                  <a:pt x="2265" y="978"/>
                </a:cubicBezTo>
                <a:cubicBezTo>
                  <a:pt x="2256" y="1056"/>
                  <a:pt x="2248" y="1134"/>
                  <a:pt x="2241" y="1211"/>
                </a:cubicBezTo>
                <a:cubicBezTo>
                  <a:pt x="2422" y="1211"/>
                  <a:pt x="2422" y="1211"/>
                  <a:pt x="2422" y="1211"/>
                </a:cubicBezTo>
                <a:cubicBezTo>
                  <a:pt x="2422" y="1211"/>
                  <a:pt x="2422" y="1211"/>
                  <a:pt x="2422" y="1211"/>
                </a:cubicBezTo>
                <a:cubicBezTo>
                  <a:pt x="2422" y="547"/>
                  <a:pt x="1875" y="0"/>
                  <a:pt x="1211" y="0"/>
                </a:cubicBezTo>
                <a:close/>
                <a:moveTo>
                  <a:pt x="896" y="137"/>
                </a:moveTo>
                <a:cubicBezTo>
                  <a:pt x="862" y="171"/>
                  <a:pt x="828" y="212"/>
                  <a:pt x="807" y="219"/>
                </a:cubicBezTo>
                <a:cubicBezTo>
                  <a:pt x="793" y="219"/>
                  <a:pt x="787" y="219"/>
                  <a:pt x="773" y="219"/>
                </a:cubicBezTo>
                <a:cubicBezTo>
                  <a:pt x="745" y="219"/>
                  <a:pt x="718" y="219"/>
                  <a:pt x="691" y="219"/>
                </a:cubicBezTo>
                <a:cubicBezTo>
                  <a:pt x="752" y="184"/>
                  <a:pt x="821" y="157"/>
                  <a:pt x="896" y="137"/>
                </a:cubicBezTo>
                <a:close/>
                <a:moveTo>
                  <a:pt x="923" y="527"/>
                </a:moveTo>
                <a:cubicBezTo>
                  <a:pt x="896" y="527"/>
                  <a:pt x="889" y="547"/>
                  <a:pt x="869" y="554"/>
                </a:cubicBezTo>
                <a:cubicBezTo>
                  <a:pt x="862" y="534"/>
                  <a:pt x="841" y="520"/>
                  <a:pt x="807" y="527"/>
                </a:cubicBezTo>
                <a:cubicBezTo>
                  <a:pt x="787" y="568"/>
                  <a:pt x="841" y="684"/>
                  <a:pt x="773" y="677"/>
                </a:cubicBezTo>
                <a:cubicBezTo>
                  <a:pt x="780" y="650"/>
                  <a:pt x="759" y="650"/>
                  <a:pt x="745" y="643"/>
                </a:cubicBezTo>
                <a:cubicBezTo>
                  <a:pt x="739" y="609"/>
                  <a:pt x="704" y="602"/>
                  <a:pt x="711" y="554"/>
                </a:cubicBezTo>
                <a:cubicBezTo>
                  <a:pt x="787" y="602"/>
                  <a:pt x="800" y="451"/>
                  <a:pt x="745" y="465"/>
                </a:cubicBezTo>
                <a:cubicBezTo>
                  <a:pt x="766" y="547"/>
                  <a:pt x="684" y="520"/>
                  <a:pt x="650" y="554"/>
                </a:cubicBezTo>
                <a:cubicBezTo>
                  <a:pt x="656" y="513"/>
                  <a:pt x="691" y="513"/>
                  <a:pt x="684" y="465"/>
                </a:cubicBezTo>
                <a:cubicBezTo>
                  <a:pt x="588" y="438"/>
                  <a:pt x="622" y="547"/>
                  <a:pt x="533" y="527"/>
                </a:cubicBezTo>
                <a:cubicBezTo>
                  <a:pt x="533" y="492"/>
                  <a:pt x="506" y="486"/>
                  <a:pt x="499" y="465"/>
                </a:cubicBezTo>
                <a:cubicBezTo>
                  <a:pt x="568" y="438"/>
                  <a:pt x="663" y="445"/>
                  <a:pt x="684" y="369"/>
                </a:cubicBezTo>
                <a:cubicBezTo>
                  <a:pt x="725" y="369"/>
                  <a:pt x="711" y="424"/>
                  <a:pt x="745" y="431"/>
                </a:cubicBezTo>
                <a:cubicBezTo>
                  <a:pt x="759" y="431"/>
                  <a:pt x="780" y="431"/>
                  <a:pt x="773" y="403"/>
                </a:cubicBezTo>
                <a:cubicBezTo>
                  <a:pt x="848" y="397"/>
                  <a:pt x="869" y="451"/>
                  <a:pt x="923" y="465"/>
                </a:cubicBezTo>
                <a:cubicBezTo>
                  <a:pt x="923" y="486"/>
                  <a:pt x="923" y="506"/>
                  <a:pt x="923" y="527"/>
                </a:cubicBezTo>
                <a:close/>
                <a:moveTo>
                  <a:pt x="1081" y="315"/>
                </a:moveTo>
                <a:cubicBezTo>
                  <a:pt x="1081" y="280"/>
                  <a:pt x="1040" y="287"/>
                  <a:pt x="1019" y="280"/>
                </a:cubicBezTo>
                <a:cubicBezTo>
                  <a:pt x="1005" y="239"/>
                  <a:pt x="944" y="253"/>
                  <a:pt x="896" y="253"/>
                </a:cubicBezTo>
                <a:cubicBezTo>
                  <a:pt x="910" y="191"/>
                  <a:pt x="1012" y="226"/>
                  <a:pt x="985" y="130"/>
                </a:cubicBezTo>
                <a:cubicBezTo>
                  <a:pt x="985" y="123"/>
                  <a:pt x="978" y="123"/>
                  <a:pt x="978" y="116"/>
                </a:cubicBezTo>
                <a:cubicBezTo>
                  <a:pt x="1053" y="102"/>
                  <a:pt x="1129" y="96"/>
                  <a:pt x="1211" y="96"/>
                </a:cubicBezTo>
                <a:cubicBezTo>
                  <a:pt x="1226" y="96"/>
                  <a:pt x="1241" y="96"/>
                  <a:pt x="1259" y="96"/>
                </a:cubicBezTo>
                <a:cubicBezTo>
                  <a:pt x="1218" y="150"/>
                  <a:pt x="1231" y="171"/>
                  <a:pt x="1320" y="157"/>
                </a:cubicBezTo>
                <a:cubicBezTo>
                  <a:pt x="1245" y="212"/>
                  <a:pt x="1163" y="362"/>
                  <a:pt x="1081" y="31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9" name="TextBox 38"/>
          <p:cNvSpPr txBox="1"/>
          <p:nvPr/>
        </p:nvSpPr>
        <p:spPr>
          <a:xfrm>
            <a:off x="533400" y="348279"/>
            <a:ext cx="6433457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72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NEW Gen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566053" y="1249534"/>
            <a:ext cx="2204359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44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makes up 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68083" y="1547539"/>
            <a:ext cx="6433457" cy="221599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138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58%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66053" y="3243107"/>
            <a:ext cx="6433457" cy="83099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48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global consumer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167000" y="1944310"/>
            <a:ext cx="172194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GEN </a:t>
            </a:r>
            <a:r>
              <a:rPr lang="en-US" sz="4000" b="1" dirty="0" smtClean="0">
                <a:solidFill>
                  <a:schemeClr val="bg1"/>
                </a:solidFill>
              </a:rPr>
              <a:t>ME </a:t>
            </a:r>
            <a:endParaRPr lang="en-US" sz="4000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187542" y="1425742"/>
            <a:ext cx="142378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GEN </a:t>
            </a:r>
            <a:r>
              <a:rPr lang="en-US" sz="5400" b="1" dirty="0" smtClean="0">
                <a:solidFill>
                  <a:schemeClr val="bg1"/>
                </a:solidFill>
              </a:rPr>
              <a:t>Y </a:t>
            </a:r>
            <a:endParaRPr lang="en-US" sz="5400" b="1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027686" y="1071991"/>
            <a:ext cx="348845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GEN </a:t>
            </a:r>
            <a:r>
              <a:rPr lang="en-US" sz="4000" b="1" dirty="0" smtClean="0">
                <a:solidFill>
                  <a:schemeClr val="bg1"/>
                </a:solidFill>
              </a:rPr>
              <a:t>Millennials  </a:t>
            </a:r>
            <a:endParaRPr lang="en-US" sz="4000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771913" y="2851868"/>
            <a:ext cx="117692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GEN </a:t>
            </a:r>
            <a:r>
              <a:rPr lang="en-US" sz="4400" b="1" dirty="0" smtClean="0">
                <a:solidFill>
                  <a:schemeClr val="bg1"/>
                </a:solidFill>
              </a:rPr>
              <a:t>Z</a:t>
            </a:r>
            <a:endParaRPr lang="en-US" sz="4400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888946" y="4760689"/>
            <a:ext cx="121860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GEN </a:t>
            </a:r>
            <a:r>
              <a:rPr lang="en-US" sz="4000" b="1" dirty="0" smtClean="0">
                <a:solidFill>
                  <a:schemeClr val="bg1"/>
                </a:solidFill>
              </a:rPr>
              <a:t>A</a:t>
            </a:r>
            <a:endParaRPr lang="en-US" sz="4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9393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2" grpId="0"/>
      <p:bldP spid="12" grpId="0"/>
      <p:bldP spid="13" grpId="0"/>
      <p:bldP spid="1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0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8" name="Freeform 7"/>
          <p:cNvSpPr>
            <a:spLocks noEditPoints="1"/>
          </p:cNvSpPr>
          <p:nvPr/>
        </p:nvSpPr>
        <p:spPr bwMode="auto">
          <a:xfrm>
            <a:off x="4620985" y="3374703"/>
            <a:ext cx="6969029" cy="3483297"/>
          </a:xfrm>
          <a:custGeom>
            <a:avLst/>
            <a:gdLst>
              <a:gd name="T0" fmla="*/ 1211 w 2422"/>
              <a:gd name="T1" fmla="*/ 0 h 1211"/>
              <a:gd name="T2" fmla="*/ 0 w 2422"/>
              <a:gd name="T3" fmla="*/ 1211 h 1211"/>
              <a:gd name="T4" fmla="*/ 0 w 2422"/>
              <a:gd name="T5" fmla="*/ 1211 h 1211"/>
              <a:gd name="T6" fmla="*/ 88 w 2422"/>
              <a:gd name="T7" fmla="*/ 1211 h 1211"/>
              <a:gd name="T8" fmla="*/ 88 w 2422"/>
              <a:gd name="T9" fmla="*/ 1211 h 1211"/>
              <a:gd name="T10" fmla="*/ 88 w 2422"/>
              <a:gd name="T11" fmla="*/ 1163 h 1211"/>
              <a:gd name="T12" fmla="*/ 151 w 2422"/>
              <a:gd name="T13" fmla="*/ 1211 h 1211"/>
              <a:gd name="T14" fmla="*/ 284 w 2422"/>
              <a:gd name="T15" fmla="*/ 1211 h 1211"/>
              <a:gd name="T16" fmla="*/ 287 w 2422"/>
              <a:gd name="T17" fmla="*/ 1136 h 1211"/>
              <a:gd name="T18" fmla="*/ 622 w 2422"/>
              <a:gd name="T19" fmla="*/ 978 h 1211"/>
              <a:gd name="T20" fmla="*/ 698 w 2422"/>
              <a:gd name="T21" fmla="*/ 1040 h 1211"/>
              <a:gd name="T22" fmla="*/ 704 w 2422"/>
              <a:gd name="T23" fmla="*/ 1108 h 1211"/>
              <a:gd name="T24" fmla="*/ 745 w 2422"/>
              <a:gd name="T25" fmla="*/ 1122 h 1211"/>
              <a:gd name="T26" fmla="*/ 752 w 2422"/>
              <a:gd name="T27" fmla="*/ 1067 h 1211"/>
              <a:gd name="T28" fmla="*/ 766 w 2422"/>
              <a:gd name="T29" fmla="*/ 999 h 1211"/>
              <a:gd name="T30" fmla="*/ 821 w 2422"/>
              <a:gd name="T31" fmla="*/ 876 h 1211"/>
              <a:gd name="T32" fmla="*/ 985 w 2422"/>
              <a:gd name="T33" fmla="*/ 684 h 1211"/>
              <a:gd name="T34" fmla="*/ 1033 w 2422"/>
              <a:gd name="T35" fmla="*/ 636 h 1211"/>
              <a:gd name="T36" fmla="*/ 1081 w 2422"/>
              <a:gd name="T37" fmla="*/ 588 h 1211"/>
              <a:gd name="T38" fmla="*/ 1108 w 2422"/>
              <a:gd name="T39" fmla="*/ 588 h 1211"/>
              <a:gd name="T40" fmla="*/ 1532 w 2422"/>
              <a:gd name="T41" fmla="*/ 342 h 1211"/>
              <a:gd name="T42" fmla="*/ 1355 w 2422"/>
              <a:gd name="T43" fmla="*/ 219 h 1211"/>
              <a:gd name="T44" fmla="*/ 1471 w 2422"/>
              <a:gd name="T45" fmla="*/ 219 h 1211"/>
              <a:gd name="T46" fmla="*/ 1409 w 2422"/>
              <a:gd name="T47" fmla="*/ 109 h 1211"/>
              <a:gd name="T48" fmla="*/ 2319 w 2422"/>
              <a:gd name="T49" fmla="*/ 1047 h 1211"/>
              <a:gd name="T50" fmla="*/ 2265 w 2422"/>
              <a:gd name="T51" fmla="*/ 978 h 1211"/>
              <a:gd name="T52" fmla="*/ 2241 w 2422"/>
              <a:gd name="T53" fmla="*/ 1211 h 1211"/>
              <a:gd name="T54" fmla="*/ 2422 w 2422"/>
              <a:gd name="T55" fmla="*/ 1211 h 1211"/>
              <a:gd name="T56" fmla="*/ 2422 w 2422"/>
              <a:gd name="T57" fmla="*/ 1211 h 1211"/>
              <a:gd name="T58" fmla="*/ 1211 w 2422"/>
              <a:gd name="T59" fmla="*/ 0 h 1211"/>
              <a:gd name="T60" fmla="*/ 896 w 2422"/>
              <a:gd name="T61" fmla="*/ 137 h 1211"/>
              <a:gd name="T62" fmla="*/ 807 w 2422"/>
              <a:gd name="T63" fmla="*/ 219 h 1211"/>
              <a:gd name="T64" fmla="*/ 773 w 2422"/>
              <a:gd name="T65" fmla="*/ 219 h 1211"/>
              <a:gd name="T66" fmla="*/ 691 w 2422"/>
              <a:gd name="T67" fmla="*/ 219 h 1211"/>
              <a:gd name="T68" fmla="*/ 896 w 2422"/>
              <a:gd name="T69" fmla="*/ 137 h 1211"/>
              <a:gd name="T70" fmla="*/ 923 w 2422"/>
              <a:gd name="T71" fmla="*/ 527 h 1211"/>
              <a:gd name="T72" fmla="*/ 869 w 2422"/>
              <a:gd name="T73" fmla="*/ 554 h 1211"/>
              <a:gd name="T74" fmla="*/ 807 w 2422"/>
              <a:gd name="T75" fmla="*/ 527 h 1211"/>
              <a:gd name="T76" fmla="*/ 773 w 2422"/>
              <a:gd name="T77" fmla="*/ 677 h 1211"/>
              <a:gd name="T78" fmla="*/ 745 w 2422"/>
              <a:gd name="T79" fmla="*/ 643 h 1211"/>
              <a:gd name="T80" fmla="*/ 711 w 2422"/>
              <a:gd name="T81" fmla="*/ 554 h 1211"/>
              <a:gd name="T82" fmla="*/ 745 w 2422"/>
              <a:gd name="T83" fmla="*/ 465 h 1211"/>
              <a:gd name="T84" fmla="*/ 650 w 2422"/>
              <a:gd name="T85" fmla="*/ 554 h 1211"/>
              <a:gd name="T86" fmla="*/ 684 w 2422"/>
              <a:gd name="T87" fmla="*/ 465 h 1211"/>
              <a:gd name="T88" fmla="*/ 533 w 2422"/>
              <a:gd name="T89" fmla="*/ 527 h 1211"/>
              <a:gd name="T90" fmla="*/ 499 w 2422"/>
              <a:gd name="T91" fmla="*/ 465 h 1211"/>
              <a:gd name="T92" fmla="*/ 684 w 2422"/>
              <a:gd name="T93" fmla="*/ 369 h 1211"/>
              <a:gd name="T94" fmla="*/ 745 w 2422"/>
              <a:gd name="T95" fmla="*/ 431 h 1211"/>
              <a:gd name="T96" fmla="*/ 773 w 2422"/>
              <a:gd name="T97" fmla="*/ 403 h 1211"/>
              <a:gd name="T98" fmla="*/ 923 w 2422"/>
              <a:gd name="T99" fmla="*/ 465 h 1211"/>
              <a:gd name="T100" fmla="*/ 923 w 2422"/>
              <a:gd name="T101" fmla="*/ 527 h 1211"/>
              <a:gd name="T102" fmla="*/ 1081 w 2422"/>
              <a:gd name="T103" fmla="*/ 315 h 1211"/>
              <a:gd name="T104" fmla="*/ 1019 w 2422"/>
              <a:gd name="T105" fmla="*/ 280 h 1211"/>
              <a:gd name="T106" fmla="*/ 896 w 2422"/>
              <a:gd name="T107" fmla="*/ 253 h 1211"/>
              <a:gd name="T108" fmla="*/ 985 w 2422"/>
              <a:gd name="T109" fmla="*/ 130 h 1211"/>
              <a:gd name="T110" fmla="*/ 978 w 2422"/>
              <a:gd name="T111" fmla="*/ 116 h 1211"/>
              <a:gd name="T112" fmla="*/ 1211 w 2422"/>
              <a:gd name="T113" fmla="*/ 96 h 1211"/>
              <a:gd name="T114" fmla="*/ 1259 w 2422"/>
              <a:gd name="T115" fmla="*/ 96 h 1211"/>
              <a:gd name="T116" fmla="*/ 1320 w 2422"/>
              <a:gd name="T117" fmla="*/ 157 h 1211"/>
              <a:gd name="T118" fmla="*/ 1081 w 2422"/>
              <a:gd name="T119" fmla="*/ 315 h 1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422" h="1211">
                <a:moveTo>
                  <a:pt x="1211" y="0"/>
                </a:moveTo>
                <a:cubicBezTo>
                  <a:pt x="540" y="0"/>
                  <a:pt x="0" y="547"/>
                  <a:pt x="0" y="1211"/>
                </a:cubicBezTo>
                <a:cubicBezTo>
                  <a:pt x="0" y="1211"/>
                  <a:pt x="0" y="1211"/>
                  <a:pt x="0" y="1211"/>
                </a:cubicBezTo>
                <a:cubicBezTo>
                  <a:pt x="88" y="1211"/>
                  <a:pt x="88" y="1211"/>
                  <a:pt x="88" y="1211"/>
                </a:cubicBezTo>
                <a:cubicBezTo>
                  <a:pt x="88" y="1211"/>
                  <a:pt x="88" y="1211"/>
                  <a:pt x="88" y="1211"/>
                </a:cubicBezTo>
                <a:cubicBezTo>
                  <a:pt x="88" y="1197"/>
                  <a:pt x="88" y="1184"/>
                  <a:pt x="88" y="1163"/>
                </a:cubicBezTo>
                <a:cubicBezTo>
                  <a:pt x="123" y="1165"/>
                  <a:pt x="141" y="1184"/>
                  <a:pt x="151" y="1211"/>
                </a:cubicBezTo>
                <a:cubicBezTo>
                  <a:pt x="284" y="1211"/>
                  <a:pt x="284" y="1211"/>
                  <a:pt x="284" y="1211"/>
                </a:cubicBezTo>
                <a:cubicBezTo>
                  <a:pt x="283" y="1187"/>
                  <a:pt x="284" y="1162"/>
                  <a:pt x="287" y="1136"/>
                </a:cubicBezTo>
                <a:cubicBezTo>
                  <a:pt x="396" y="1019"/>
                  <a:pt x="492" y="1033"/>
                  <a:pt x="622" y="978"/>
                </a:cubicBezTo>
                <a:cubicBezTo>
                  <a:pt x="656" y="978"/>
                  <a:pt x="691" y="1006"/>
                  <a:pt x="698" y="1040"/>
                </a:cubicBezTo>
                <a:cubicBezTo>
                  <a:pt x="704" y="1060"/>
                  <a:pt x="704" y="1088"/>
                  <a:pt x="704" y="1108"/>
                </a:cubicBezTo>
                <a:cubicBezTo>
                  <a:pt x="711" y="1136"/>
                  <a:pt x="725" y="1149"/>
                  <a:pt x="745" y="1122"/>
                </a:cubicBezTo>
                <a:cubicBezTo>
                  <a:pt x="759" y="1108"/>
                  <a:pt x="752" y="1081"/>
                  <a:pt x="752" y="1067"/>
                </a:cubicBezTo>
                <a:cubicBezTo>
                  <a:pt x="752" y="1040"/>
                  <a:pt x="759" y="1019"/>
                  <a:pt x="766" y="999"/>
                </a:cubicBezTo>
                <a:cubicBezTo>
                  <a:pt x="780" y="951"/>
                  <a:pt x="793" y="910"/>
                  <a:pt x="821" y="876"/>
                </a:cubicBezTo>
                <a:cubicBezTo>
                  <a:pt x="862" y="800"/>
                  <a:pt x="923" y="746"/>
                  <a:pt x="985" y="684"/>
                </a:cubicBezTo>
                <a:cubicBezTo>
                  <a:pt x="999" y="670"/>
                  <a:pt x="1019" y="650"/>
                  <a:pt x="1033" y="636"/>
                </a:cubicBezTo>
                <a:cubicBezTo>
                  <a:pt x="1040" y="629"/>
                  <a:pt x="1067" y="588"/>
                  <a:pt x="1081" y="588"/>
                </a:cubicBezTo>
                <a:cubicBezTo>
                  <a:pt x="1088" y="588"/>
                  <a:pt x="1101" y="588"/>
                  <a:pt x="1108" y="588"/>
                </a:cubicBezTo>
                <a:cubicBezTo>
                  <a:pt x="1361" y="554"/>
                  <a:pt x="1361" y="403"/>
                  <a:pt x="1532" y="342"/>
                </a:cubicBezTo>
                <a:cubicBezTo>
                  <a:pt x="1498" y="280"/>
                  <a:pt x="1437" y="239"/>
                  <a:pt x="1355" y="219"/>
                </a:cubicBezTo>
                <a:cubicBezTo>
                  <a:pt x="1355" y="143"/>
                  <a:pt x="1457" y="212"/>
                  <a:pt x="1471" y="219"/>
                </a:cubicBezTo>
                <a:cubicBezTo>
                  <a:pt x="1512" y="205"/>
                  <a:pt x="1471" y="143"/>
                  <a:pt x="1409" y="109"/>
                </a:cubicBezTo>
                <a:cubicBezTo>
                  <a:pt x="1881" y="198"/>
                  <a:pt x="2244" y="575"/>
                  <a:pt x="2319" y="1047"/>
                </a:cubicBezTo>
                <a:cubicBezTo>
                  <a:pt x="2306" y="1019"/>
                  <a:pt x="2292" y="992"/>
                  <a:pt x="2265" y="978"/>
                </a:cubicBezTo>
                <a:cubicBezTo>
                  <a:pt x="2256" y="1056"/>
                  <a:pt x="2248" y="1134"/>
                  <a:pt x="2241" y="1211"/>
                </a:cubicBezTo>
                <a:cubicBezTo>
                  <a:pt x="2422" y="1211"/>
                  <a:pt x="2422" y="1211"/>
                  <a:pt x="2422" y="1211"/>
                </a:cubicBezTo>
                <a:cubicBezTo>
                  <a:pt x="2422" y="1211"/>
                  <a:pt x="2422" y="1211"/>
                  <a:pt x="2422" y="1211"/>
                </a:cubicBezTo>
                <a:cubicBezTo>
                  <a:pt x="2422" y="547"/>
                  <a:pt x="1875" y="0"/>
                  <a:pt x="1211" y="0"/>
                </a:cubicBezTo>
                <a:close/>
                <a:moveTo>
                  <a:pt x="896" y="137"/>
                </a:moveTo>
                <a:cubicBezTo>
                  <a:pt x="862" y="171"/>
                  <a:pt x="828" y="212"/>
                  <a:pt x="807" y="219"/>
                </a:cubicBezTo>
                <a:cubicBezTo>
                  <a:pt x="793" y="219"/>
                  <a:pt x="787" y="219"/>
                  <a:pt x="773" y="219"/>
                </a:cubicBezTo>
                <a:cubicBezTo>
                  <a:pt x="745" y="219"/>
                  <a:pt x="718" y="219"/>
                  <a:pt x="691" y="219"/>
                </a:cubicBezTo>
                <a:cubicBezTo>
                  <a:pt x="752" y="184"/>
                  <a:pt x="821" y="157"/>
                  <a:pt x="896" y="137"/>
                </a:cubicBezTo>
                <a:close/>
                <a:moveTo>
                  <a:pt x="923" y="527"/>
                </a:moveTo>
                <a:cubicBezTo>
                  <a:pt x="896" y="527"/>
                  <a:pt x="889" y="547"/>
                  <a:pt x="869" y="554"/>
                </a:cubicBezTo>
                <a:cubicBezTo>
                  <a:pt x="862" y="534"/>
                  <a:pt x="841" y="520"/>
                  <a:pt x="807" y="527"/>
                </a:cubicBezTo>
                <a:cubicBezTo>
                  <a:pt x="787" y="568"/>
                  <a:pt x="841" y="684"/>
                  <a:pt x="773" y="677"/>
                </a:cubicBezTo>
                <a:cubicBezTo>
                  <a:pt x="780" y="650"/>
                  <a:pt x="759" y="650"/>
                  <a:pt x="745" y="643"/>
                </a:cubicBezTo>
                <a:cubicBezTo>
                  <a:pt x="739" y="609"/>
                  <a:pt x="704" y="602"/>
                  <a:pt x="711" y="554"/>
                </a:cubicBezTo>
                <a:cubicBezTo>
                  <a:pt x="787" y="602"/>
                  <a:pt x="800" y="451"/>
                  <a:pt x="745" y="465"/>
                </a:cubicBezTo>
                <a:cubicBezTo>
                  <a:pt x="766" y="547"/>
                  <a:pt x="684" y="520"/>
                  <a:pt x="650" y="554"/>
                </a:cubicBezTo>
                <a:cubicBezTo>
                  <a:pt x="656" y="513"/>
                  <a:pt x="691" y="513"/>
                  <a:pt x="684" y="465"/>
                </a:cubicBezTo>
                <a:cubicBezTo>
                  <a:pt x="588" y="438"/>
                  <a:pt x="622" y="547"/>
                  <a:pt x="533" y="527"/>
                </a:cubicBezTo>
                <a:cubicBezTo>
                  <a:pt x="533" y="492"/>
                  <a:pt x="506" y="486"/>
                  <a:pt x="499" y="465"/>
                </a:cubicBezTo>
                <a:cubicBezTo>
                  <a:pt x="568" y="438"/>
                  <a:pt x="663" y="445"/>
                  <a:pt x="684" y="369"/>
                </a:cubicBezTo>
                <a:cubicBezTo>
                  <a:pt x="725" y="369"/>
                  <a:pt x="711" y="424"/>
                  <a:pt x="745" y="431"/>
                </a:cubicBezTo>
                <a:cubicBezTo>
                  <a:pt x="759" y="431"/>
                  <a:pt x="780" y="431"/>
                  <a:pt x="773" y="403"/>
                </a:cubicBezTo>
                <a:cubicBezTo>
                  <a:pt x="848" y="397"/>
                  <a:pt x="869" y="451"/>
                  <a:pt x="923" y="465"/>
                </a:cubicBezTo>
                <a:cubicBezTo>
                  <a:pt x="923" y="486"/>
                  <a:pt x="923" y="506"/>
                  <a:pt x="923" y="527"/>
                </a:cubicBezTo>
                <a:close/>
                <a:moveTo>
                  <a:pt x="1081" y="315"/>
                </a:moveTo>
                <a:cubicBezTo>
                  <a:pt x="1081" y="280"/>
                  <a:pt x="1040" y="287"/>
                  <a:pt x="1019" y="280"/>
                </a:cubicBezTo>
                <a:cubicBezTo>
                  <a:pt x="1005" y="239"/>
                  <a:pt x="944" y="253"/>
                  <a:pt x="896" y="253"/>
                </a:cubicBezTo>
                <a:cubicBezTo>
                  <a:pt x="910" y="191"/>
                  <a:pt x="1012" y="226"/>
                  <a:pt x="985" y="130"/>
                </a:cubicBezTo>
                <a:cubicBezTo>
                  <a:pt x="985" y="123"/>
                  <a:pt x="978" y="123"/>
                  <a:pt x="978" y="116"/>
                </a:cubicBezTo>
                <a:cubicBezTo>
                  <a:pt x="1053" y="102"/>
                  <a:pt x="1129" y="96"/>
                  <a:pt x="1211" y="96"/>
                </a:cubicBezTo>
                <a:cubicBezTo>
                  <a:pt x="1226" y="96"/>
                  <a:pt x="1241" y="96"/>
                  <a:pt x="1259" y="96"/>
                </a:cubicBezTo>
                <a:cubicBezTo>
                  <a:pt x="1218" y="150"/>
                  <a:pt x="1231" y="171"/>
                  <a:pt x="1320" y="157"/>
                </a:cubicBezTo>
                <a:cubicBezTo>
                  <a:pt x="1245" y="212"/>
                  <a:pt x="1163" y="362"/>
                  <a:pt x="1081" y="31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9" name="TextBox 38"/>
          <p:cNvSpPr txBox="1"/>
          <p:nvPr/>
        </p:nvSpPr>
        <p:spPr>
          <a:xfrm>
            <a:off x="533400" y="348279"/>
            <a:ext cx="6433457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72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NEW Gen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66052" y="2541810"/>
            <a:ext cx="10746183" cy="255454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8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latin typeface="+mj-lt"/>
              </a:rPr>
              <a:t>Beginning of the end of</a:t>
            </a:r>
          </a:p>
          <a:p>
            <a:r>
              <a:rPr lang="en-US" sz="8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rgbClr val="FF0000"/>
                </a:solidFill>
                <a:latin typeface="+mj-lt"/>
              </a:rPr>
              <a:t>Generational Boundarie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167000" y="1944310"/>
            <a:ext cx="172194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GEN </a:t>
            </a:r>
            <a:r>
              <a:rPr lang="en-US" sz="4000" b="1" dirty="0" smtClean="0">
                <a:solidFill>
                  <a:schemeClr val="bg1"/>
                </a:solidFill>
              </a:rPr>
              <a:t>ME </a:t>
            </a:r>
            <a:endParaRPr lang="en-US" sz="4000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187542" y="1425742"/>
            <a:ext cx="142378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GEN </a:t>
            </a:r>
            <a:r>
              <a:rPr lang="en-US" sz="5400" b="1" dirty="0" smtClean="0">
                <a:solidFill>
                  <a:schemeClr val="bg1"/>
                </a:solidFill>
              </a:rPr>
              <a:t>Y </a:t>
            </a:r>
            <a:endParaRPr lang="en-US" sz="5400" b="1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027686" y="1071991"/>
            <a:ext cx="348845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GEN </a:t>
            </a:r>
            <a:r>
              <a:rPr lang="en-US" sz="4000" b="1" dirty="0" smtClean="0">
                <a:solidFill>
                  <a:schemeClr val="bg1"/>
                </a:solidFill>
              </a:rPr>
              <a:t>Millennials  </a:t>
            </a:r>
            <a:endParaRPr lang="en-US" sz="4000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771913" y="2851868"/>
            <a:ext cx="117692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GEN </a:t>
            </a:r>
            <a:r>
              <a:rPr lang="en-US" sz="4400" b="1" dirty="0" smtClean="0">
                <a:solidFill>
                  <a:schemeClr val="bg1"/>
                </a:solidFill>
              </a:rPr>
              <a:t>Z</a:t>
            </a:r>
            <a:endParaRPr lang="en-US" sz="4400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888946" y="4760689"/>
            <a:ext cx="121860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GEN </a:t>
            </a:r>
            <a:r>
              <a:rPr lang="en-US" sz="4000" b="1" dirty="0" smtClean="0">
                <a:solidFill>
                  <a:schemeClr val="bg1"/>
                </a:solidFill>
              </a:rPr>
              <a:t>A</a:t>
            </a:r>
            <a:endParaRPr lang="en-US" sz="4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277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8" name="Freeform 7"/>
          <p:cNvSpPr>
            <a:spLocks noEditPoints="1"/>
          </p:cNvSpPr>
          <p:nvPr/>
        </p:nvSpPr>
        <p:spPr bwMode="auto">
          <a:xfrm>
            <a:off x="4620985" y="3374703"/>
            <a:ext cx="6969029" cy="3483297"/>
          </a:xfrm>
          <a:custGeom>
            <a:avLst/>
            <a:gdLst>
              <a:gd name="T0" fmla="*/ 1211 w 2422"/>
              <a:gd name="T1" fmla="*/ 0 h 1211"/>
              <a:gd name="T2" fmla="*/ 0 w 2422"/>
              <a:gd name="T3" fmla="*/ 1211 h 1211"/>
              <a:gd name="T4" fmla="*/ 0 w 2422"/>
              <a:gd name="T5" fmla="*/ 1211 h 1211"/>
              <a:gd name="T6" fmla="*/ 88 w 2422"/>
              <a:gd name="T7" fmla="*/ 1211 h 1211"/>
              <a:gd name="T8" fmla="*/ 88 w 2422"/>
              <a:gd name="T9" fmla="*/ 1211 h 1211"/>
              <a:gd name="T10" fmla="*/ 88 w 2422"/>
              <a:gd name="T11" fmla="*/ 1163 h 1211"/>
              <a:gd name="T12" fmla="*/ 151 w 2422"/>
              <a:gd name="T13" fmla="*/ 1211 h 1211"/>
              <a:gd name="T14" fmla="*/ 284 w 2422"/>
              <a:gd name="T15" fmla="*/ 1211 h 1211"/>
              <a:gd name="T16" fmla="*/ 287 w 2422"/>
              <a:gd name="T17" fmla="*/ 1136 h 1211"/>
              <a:gd name="T18" fmla="*/ 622 w 2422"/>
              <a:gd name="T19" fmla="*/ 978 h 1211"/>
              <a:gd name="T20" fmla="*/ 698 w 2422"/>
              <a:gd name="T21" fmla="*/ 1040 h 1211"/>
              <a:gd name="T22" fmla="*/ 704 w 2422"/>
              <a:gd name="T23" fmla="*/ 1108 h 1211"/>
              <a:gd name="T24" fmla="*/ 745 w 2422"/>
              <a:gd name="T25" fmla="*/ 1122 h 1211"/>
              <a:gd name="T26" fmla="*/ 752 w 2422"/>
              <a:gd name="T27" fmla="*/ 1067 h 1211"/>
              <a:gd name="T28" fmla="*/ 766 w 2422"/>
              <a:gd name="T29" fmla="*/ 999 h 1211"/>
              <a:gd name="T30" fmla="*/ 821 w 2422"/>
              <a:gd name="T31" fmla="*/ 876 h 1211"/>
              <a:gd name="T32" fmla="*/ 985 w 2422"/>
              <a:gd name="T33" fmla="*/ 684 h 1211"/>
              <a:gd name="T34" fmla="*/ 1033 w 2422"/>
              <a:gd name="T35" fmla="*/ 636 h 1211"/>
              <a:gd name="T36" fmla="*/ 1081 w 2422"/>
              <a:gd name="T37" fmla="*/ 588 h 1211"/>
              <a:gd name="T38" fmla="*/ 1108 w 2422"/>
              <a:gd name="T39" fmla="*/ 588 h 1211"/>
              <a:gd name="T40" fmla="*/ 1532 w 2422"/>
              <a:gd name="T41" fmla="*/ 342 h 1211"/>
              <a:gd name="T42" fmla="*/ 1355 w 2422"/>
              <a:gd name="T43" fmla="*/ 219 h 1211"/>
              <a:gd name="T44" fmla="*/ 1471 w 2422"/>
              <a:gd name="T45" fmla="*/ 219 h 1211"/>
              <a:gd name="T46" fmla="*/ 1409 w 2422"/>
              <a:gd name="T47" fmla="*/ 109 h 1211"/>
              <a:gd name="T48" fmla="*/ 2319 w 2422"/>
              <a:gd name="T49" fmla="*/ 1047 h 1211"/>
              <a:gd name="T50" fmla="*/ 2265 w 2422"/>
              <a:gd name="T51" fmla="*/ 978 h 1211"/>
              <a:gd name="T52" fmla="*/ 2241 w 2422"/>
              <a:gd name="T53" fmla="*/ 1211 h 1211"/>
              <a:gd name="T54" fmla="*/ 2422 w 2422"/>
              <a:gd name="T55" fmla="*/ 1211 h 1211"/>
              <a:gd name="T56" fmla="*/ 2422 w 2422"/>
              <a:gd name="T57" fmla="*/ 1211 h 1211"/>
              <a:gd name="T58" fmla="*/ 1211 w 2422"/>
              <a:gd name="T59" fmla="*/ 0 h 1211"/>
              <a:gd name="T60" fmla="*/ 896 w 2422"/>
              <a:gd name="T61" fmla="*/ 137 h 1211"/>
              <a:gd name="T62" fmla="*/ 807 w 2422"/>
              <a:gd name="T63" fmla="*/ 219 h 1211"/>
              <a:gd name="T64" fmla="*/ 773 w 2422"/>
              <a:gd name="T65" fmla="*/ 219 h 1211"/>
              <a:gd name="T66" fmla="*/ 691 w 2422"/>
              <a:gd name="T67" fmla="*/ 219 h 1211"/>
              <a:gd name="T68" fmla="*/ 896 w 2422"/>
              <a:gd name="T69" fmla="*/ 137 h 1211"/>
              <a:gd name="T70" fmla="*/ 923 w 2422"/>
              <a:gd name="T71" fmla="*/ 527 h 1211"/>
              <a:gd name="T72" fmla="*/ 869 w 2422"/>
              <a:gd name="T73" fmla="*/ 554 h 1211"/>
              <a:gd name="T74" fmla="*/ 807 w 2422"/>
              <a:gd name="T75" fmla="*/ 527 h 1211"/>
              <a:gd name="T76" fmla="*/ 773 w 2422"/>
              <a:gd name="T77" fmla="*/ 677 h 1211"/>
              <a:gd name="T78" fmla="*/ 745 w 2422"/>
              <a:gd name="T79" fmla="*/ 643 h 1211"/>
              <a:gd name="T80" fmla="*/ 711 w 2422"/>
              <a:gd name="T81" fmla="*/ 554 h 1211"/>
              <a:gd name="T82" fmla="*/ 745 w 2422"/>
              <a:gd name="T83" fmla="*/ 465 h 1211"/>
              <a:gd name="T84" fmla="*/ 650 w 2422"/>
              <a:gd name="T85" fmla="*/ 554 h 1211"/>
              <a:gd name="T86" fmla="*/ 684 w 2422"/>
              <a:gd name="T87" fmla="*/ 465 h 1211"/>
              <a:gd name="T88" fmla="*/ 533 w 2422"/>
              <a:gd name="T89" fmla="*/ 527 h 1211"/>
              <a:gd name="T90" fmla="*/ 499 w 2422"/>
              <a:gd name="T91" fmla="*/ 465 h 1211"/>
              <a:gd name="T92" fmla="*/ 684 w 2422"/>
              <a:gd name="T93" fmla="*/ 369 h 1211"/>
              <a:gd name="T94" fmla="*/ 745 w 2422"/>
              <a:gd name="T95" fmla="*/ 431 h 1211"/>
              <a:gd name="T96" fmla="*/ 773 w 2422"/>
              <a:gd name="T97" fmla="*/ 403 h 1211"/>
              <a:gd name="T98" fmla="*/ 923 w 2422"/>
              <a:gd name="T99" fmla="*/ 465 h 1211"/>
              <a:gd name="T100" fmla="*/ 923 w 2422"/>
              <a:gd name="T101" fmla="*/ 527 h 1211"/>
              <a:gd name="T102" fmla="*/ 1081 w 2422"/>
              <a:gd name="T103" fmla="*/ 315 h 1211"/>
              <a:gd name="T104" fmla="*/ 1019 w 2422"/>
              <a:gd name="T105" fmla="*/ 280 h 1211"/>
              <a:gd name="T106" fmla="*/ 896 w 2422"/>
              <a:gd name="T107" fmla="*/ 253 h 1211"/>
              <a:gd name="T108" fmla="*/ 985 w 2422"/>
              <a:gd name="T109" fmla="*/ 130 h 1211"/>
              <a:gd name="T110" fmla="*/ 978 w 2422"/>
              <a:gd name="T111" fmla="*/ 116 h 1211"/>
              <a:gd name="T112" fmla="*/ 1211 w 2422"/>
              <a:gd name="T113" fmla="*/ 96 h 1211"/>
              <a:gd name="T114" fmla="*/ 1259 w 2422"/>
              <a:gd name="T115" fmla="*/ 96 h 1211"/>
              <a:gd name="T116" fmla="*/ 1320 w 2422"/>
              <a:gd name="T117" fmla="*/ 157 h 1211"/>
              <a:gd name="T118" fmla="*/ 1081 w 2422"/>
              <a:gd name="T119" fmla="*/ 315 h 1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422" h="1211">
                <a:moveTo>
                  <a:pt x="1211" y="0"/>
                </a:moveTo>
                <a:cubicBezTo>
                  <a:pt x="540" y="0"/>
                  <a:pt x="0" y="547"/>
                  <a:pt x="0" y="1211"/>
                </a:cubicBezTo>
                <a:cubicBezTo>
                  <a:pt x="0" y="1211"/>
                  <a:pt x="0" y="1211"/>
                  <a:pt x="0" y="1211"/>
                </a:cubicBezTo>
                <a:cubicBezTo>
                  <a:pt x="88" y="1211"/>
                  <a:pt x="88" y="1211"/>
                  <a:pt x="88" y="1211"/>
                </a:cubicBezTo>
                <a:cubicBezTo>
                  <a:pt x="88" y="1211"/>
                  <a:pt x="88" y="1211"/>
                  <a:pt x="88" y="1211"/>
                </a:cubicBezTo>
                <a:cubicBezTo>
                  <a:pt x="88" y="1197"/>
                  <a:pt x="88" y="1184"/>
                  <a:pt x="88" y="1163"/>
                </a:cubicBezTo>
                <a:cubicBezTo>
                  <a:pt x="123" y="1165"/>
                  <a:pt x="141" y="1184"/>
                  <a:pt x="151" y="1211"/>
                </a:cubicBezTo>
                <a:cubicBezTo>
                  <a:pt x="284" y="1211"/>
                  <a:pt x="284" y="1211"/>
                  <a:pt x="284" y="1211"/>
                </a:cubicBezTo>
                <a:cubicBezTo>
                  <a:pt x="283" y="1187"/>
                  <a:pt x="284" y="1162"/>
                  <a:pt x="287" y="1136"/>
                </a:cubicBezTo>
                <a:cubicBezTo>
                  <a:pt x="396" y="1019"/>
                  <a:pt x="492" y="1033"/>
                  <a:pt x="622" y="978"/>
                </a:cubicBezTo>
                <a:cubicBezTo>
                  <a:pt x="656" y="978"/>
                  <a:pt x="691" y="1006"/>
                  <a:pt x="698" y="1040"/>
                </a:cubicBezTo>
                <a:cubicBezTo>
                  <a:pt x="704" y="1060"/>
                  <a:pt x="704" y="1088"/>
                  <a:pt x="704" y="1108"/>
                </a:cubicBezTo>
                <a:cubicBezTo>
                  <a:pt x="711" y="1136"/>
                  <a:pt x="725" y="1149"/>
                  <a:pt x="745" y="1122"/>
                </a:cubicBezTo>
                <a:cubicBezTo>
                  <a:pt x="759" y="1108"/>
                  <a:pt x="752" y="1081"/>
                  <a:pt x="752" y="1067"/>
                </a:cubicBezTo>
                <a:cubicBezTo>
                  <a:pt x="752" y="1040"/>
                  <a:pt x="759" y="1019"/>
                  <a:pt x="766" y="999"/>
                </a:cubicBezTo>
                <a:cubicBezTo>
                  <a:pt x="780" y="951"/>
                  <a:pt x="793" y="910"/>
                  <a:pt x="821" y="876"/>
                </a:cubicBezTo>
                <a:cubicBezTo>
                  <a:pt x="862" y="800"/>
                  <a:pt x="923" y="746"/>
                  <a:pt x="985" y="684"/>
                </a:cubicBezTo>
                <a:cubicBezTo>
                  <a:pt x="999" y="670"/>
                  <a:pt x="1019" y="650"/>
                  <a:pt x="1033" y="636"/>
                </a:cubicBezTo>
                <a:cubicBezTo>
                  <a:pt x="1040" y="629"/>
                  <a:pt x="1067" y="588"/>
                  <a:pt x="1081" y="588"/>
                </a:cubicBezTo>
                <a:cubicBezTo>
                  <a:pt x="1088" y="588"/>
                  <a:pt x="1101" y="588"/>
                  <a:pt x="1108" y="588"/>
                </a:cubicBezTo>
                <a:cubicBezTo>
                  <a:pt x="1361" y="554"/>
                  <a:pt x="1361" y="403"/>
                  <a:pt x="1532" y="342"/>
                </a:cubicBezTo>
                <a:cubicBezTo>
                  <a:pt x="1498" y="280"/>
                  <a:pt x="1437" y="239"/>
                  <a:pt x="1355" y="219"/>
                </a:cubicBezTo>
                <a:cubicBezTo>
                  <a:pt x="1355" y="143"/>
                  <a:pt x="1457" y="212"/>
                  <a:pt x="1471" y="219"/>
                </a:cubicBezTo>
                <a:cubicBezTo>
                  <a:pt x="1512" y="205"/>
                  <a:pt x="1471" y="143"/>
                  <a:pt x="1409" y="109"/>
                </a:cubicBezTo>
                <a:cubicBezTo>
                  <a:pt x="1881" y="198"/>
                  <a:pt x="2244" y="575"/>
                  <a:pt x="2319" y="1047"/>
                </a:cubicBezTo>
                <a:cubicBezTo>
                  <a:pt x="2306" y="1019"/>
                  <a:pt x="2292" y="992"/>
                  <a:pt x="2265" y="978"/>
                </a:cubicBezTo>
                <a:cubicBezTo>
                  <a:pt x="2256" y="1056"/>
                  <a:pt x="2248" y="1134"/>
                  <a:pt x="2241" y="1211"/>
                </a:cubicBezTo>
                <a:cubicBezTo>
                  <a:pt x="2422" y="1211"/>
                  <a:pt x="2422" y="1211"/>
                  <a:pt x="2422" y="1211"/>
                </a:cubicBezTo>
                <a:cubicBezTo>
                  <a:pt x="2422" y="1211"/>
                  <a:pt x="2422" y="1211"/>
                  <a:pt x="2422" y="1211"/>
                </a:cubicBezTo>
                <a:cubicBezTo>
                  <a:pt x="2422" y="547"/>
                  <a:pt x="1875" y="0"/>
                  <a:pt x="1211" y="0"/>
                </a:cubicBezTo>
                <a:close/>
                <a:moveTo>
                  <a:pt x="896" y="137"/>
                </a:moveTo>
                <a:cubicBezTo>
                  <a:pt x="862" y="171"/>
                  <a:pt x="828" y="212"/>
                  <a:pt x="807" y="219"/>
                </a:cubicBezTo>
                <a:cubicBezTo>
                  <a:pt x="793" y="219"/>
                  <a:pt x="787" y="219"/>
                  <a:pt x="773" y="219"/>
                </a:cubicBezTo>
                <a:cubicBezTo>
                  <a:pt x="745" y="219"/>
                  <a:pt x="718" y="219"/>
                  <a:pt x="691" y="219"/>
                </a:cubicBezTo>
                <a:cubicBezTo>
                  <a:pt x="752" y="184"/>
                  <a:pt x="821" y="157"/>
                  <a:pt x="896" y="137"/>
                </a:cubicBezTo>
                <a:close/>
                <a:moveTo>
                  <a:pt x="923" y="527"/>
                </a:moveTo>
                <a:cubicBezTo>
                  <a:pt x="896" y="527"/>
                  <a:pt x="889" y="547"/>
                  <a:pt x="869" y="554"/>
                </a:cubicBezTo>
                <a:cubicBezTo>
                  <a:pt x="862" y="534"/>
                  <a:pt x="841" y="520"/>
                  <a:pt x="807" y="527"/>
                </a:cubicBezTo>
                <a:cubicBezTo>
                  <a:pt x="787" y="568"/>
                  <a:pt x="841" y="684"/>
                  <a:pt x="773" y="677"/>
                </a:cubicBezTo>
                <a:cubicBezTo>
                  <a:pt x="780" y="650"/>
                  <a:pt x="759" y="650"/>
                  <a:pt x="745" y="643"/>
                </a:cubicBezTo>
                <a:cubicBezTo>
                  <a:pt x="739" y="609"/>
                  <a:pt x="704" y="602"/>
                  <a:pt x="711" y="554"/>
                </a:cubicBezTo>
                <a:cubicBezTo>
                  <a:pt x="787" y="602"/>
                  <a:pt x="800" y="451"/>
                  <a:pt x="745" y="465"/>
                </a:cubicBezTo>
                <a:cubicBezTo>
                  <a:pt x="766" y="547"/>
                  <a:pt x="684" y="520"/>
                  <a:pt x="650" y="554"/>
                </a:cubicBezTo>
                <a:cubicBezTo>
                  <a:pt x="656" y="513"/>
                  <a:pt x="691" y="513"/>
                  <a:pt x="684" y="465"/>
                </a:cubicBezTo>
                <a:cubicBezTo>
                  <a:pt x="588" y="438"/>
                  <a:pt x="622" y="547"/>
                  <a:pt x="533" y="527"/>
                </a:cubicBezTo>
                <a:cubicBezTo>
                  <a:pt x="533" y="492"/>
                  <a:pt x="506" y="486"/>
                  <a:pt x="499" y="465"/>
                </a:cubicBezTo>
                <a:cubicBezTo>
                  <a:pt x="568" y="438"/>
                  <a:pt x="663" y="445"/>
                  <a:pt x="684" y="369"/>
                </a:cubicBezTo>
                <a:cubicBezTo>
                  <a:pt x="725" y="369"/>
                  <a:pt x="711" y="424"/>
                  <a:pt x="745" y="431"/>
                </a:cubicBezTo>
                <a:cubicBezTo>
                  <a:pt x="759" y="431"/>
                  <a:pt x="780" y="431"/>
                  <a:pt x="773" y="403"/>
                </a:cubicBezTo>
                <a:cubicBezTo>
                  <a:pt x="848" y="397"/>
                  <a:pt x="869" y="451"/>
                  <a:pt x="923" y="465"/>
                </a:cubicBezTo>
                <a:cubicBezTo>
                  <a:pt x="923" y="486"/>
                  <a:pt x="923" y="506"/>
                  <a:pt x="923" y="527"/>
                </a:cubicBezTo>
                <a:close/>
                <a:moveTo>
                  <a:pt x="1081" y="315"/>
                </a:moveTo>
                <a:cubicBezTo>
                  <a:pt x="1081" y="280"/>
                  <a:pt x="1040" y="287"/>
                  <a:pt x="1019" y="280"/>
                </a:cubicBezTo>
                <a:cubicBezTo>
                  <a:pt x="1005" y="239"/>
                  <a:pt x="944" y="253"/>
                  <a:pt x="896" y="253"/>
                </a:cubicBezTo>
                <a:cubicBezTo>
                  <a:pt x="910" y="191"/>
                  <a:pt x="1012" y="226"/>
                  <a:pt x="985" y="130"/>
                </a:cubicBezTo>
                <a:cubicBezTo>
                  <a:pt x="985" y="123"/>
                  <a:pt x="978" y="123"/>
                  <a:pt x="978" y="116"/>
                </a:cubicBezTo>
                <a:cubicBezTo>
                  <a:pt x="1053" y="102"/>
                  <a:pt x="1129" y="96"/>
                  <a:pt x="1211" y="96"/>
                </a:cubicBezTo>
                <a:cubicBezTo>
                  <a:pt x="1226" y="96"/>
                  <a:pt x="1241" y="96"/>
                  <a:pt x="1259" y="96"/>
                </a:cubicBezTo>
                <a:cubicBezTo>
                  <a:pt x="1218" y="150"/>
                  <a:pt x="1231" y="171"/>
                  <a:pt x="1320" y="157"/>
                </a:cubicBezTo>
                <a:cubicBezTo>
                  <a:pt x="1245" y="212"/>
                  <a:pt x="1163" y="362"/>
                  <a:pt x="1081" y="31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9" name="TextBox 38"/>
          <p:cNvSpPr txBox="1"/>
          <p:nvPr/>
        </p:nvSpPr>
        <p:spPr>
          <a:xfrm>
            <a:off x="533400" y="348279"/>
            <a:ext cx="6433457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72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NEW Gen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63229" y="1412302"/>
            <a:ext cx="9444320" cy="215443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54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rgbClr val="FF0000"/>
                </a:solidFill>
                <a:latin typeface="+mj-lt"/>
              </a:rPr>
              <a:t>Not the Birthright</a:t>
            </a:r>
          </a:p>
          <a:p>
            <a:r>
              <a:rPr lang="en-US" sz="54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rgbClr val="FF0000"/>
                </a:solidFill>
                <a:latin typeface="+mj-lt"/>
              </a:rPr>
              <a:t>But by </a:t>
            </a:r>
            <a:r>
              <a:rPr lang="en-US" sz="8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rgbClr val="FF0000"/>
                </a:solidFill>
                <a:latin typeface="+mj-lt"/>
              </a:rPr>
              <a:t>CHOICE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167000" y="1944310"/>
            <a:ext cx="172194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GEN </a:t>
            </a:r>
            <a:r>
              <a:rPr lang="en-US" sz="4000" b="1" dirty="0" smtClean="0">
                <a:solidFill>
                  <a:schemeClr val="bg1"/>
                </a:solidFill>
              </a:rPr>
              <a:t>ME </a:t>
            </a:r>
            <a:endParaRPr lang="en-US" sz="4000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187542" y="1425742"/>
            <a:ext cx="142378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GEN </a:t>
            </a:r>
            <a:r>
              <a:rPr lang="en-US" sz="5400" b="1" dirty="0" smtClean="0">
                <a:solidFill>
                  <a:schemeClr val="bg1"/>
                </a:solidFill>
              </a:rPr>
              <a:t>Y </a:t>
            </a:r>
            <a:endParaRPr lang="en-US" sz="5400" b="1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027686" y="1071991"/>
            <a:ext cx="348845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GEN </a:t>
            </a:r>
            <a:r>
              <a:rPr lang="en-US" sz="4000" b="1" dirty="0" smtClean="0">
                <a:solidFill>
                  <a:schemeClr val="bg1"/>
                </a:solidFill>
              </a:rPr>
              <a:t>Millennials  </a:t>
            </a:r>
            <a:endParaRPr lang="en-US" sz="4000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771913" y="2851868"/>
            <a:ext cx="117692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GEN </a:t>
            </a:r>
            <a:r>
              <a:rPr lang="en-US" sz="4400" b="1" dirty="0" smtClean="0">
                <a:solidFill>
                  <a:schemeClr val="bg1"/>
                </a:solidFill>
              </a:rPr>
              <a:t>Z</a:t>
            </a:r>
            <a:endParaRPr lang="en-US" sz="4400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888946" y="4760689"/>
            <a:ext cx="121860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GEN </a:t>
            </a:r>
            <a:r>
              <a:rPr lang="en-US" sz="4000" b="1" dirty="0" smtClean="0">
                <a:solidFill>
                  <a:schemeClr val="bg1"/>
                </a:solidFill>
              </a:rPr>
              <a:t>A</a:t>
            </a:r>
            <a:endParaRPr lang="en-US" sz="4000" b="1" dirty="0">
              <a:solidFill>
                <a:schemeClr val="bg1"/>
              </a:solidFill>
            </a:endParaRPr>
          </a:p>
        </p:txBody>
      </p:sp>
      <p:sp>
        <p:nvSpPr>
          <p:cNvPr id="5" name="Flowchart: Connector 4"/>
          <p:cNvSpPr/>
          <p:nvPr/>
        </p:nvSpPr>
        <p:spPr>
          <a:xfrm>
            <a:off x="282229" y="3926099"/>
            <a:ext cx="1190625" cy="1171575"/>
          </a:xfrm>
          <a:prstGeom prst="flowChartConnector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600" dirty="0" smtClean="0">
                <a:solidFill>
                  <a:schemeClr val="bg1"/>
                </a:solidFill>
              </a:rPr>
              <a:t>1</a:t>
            </a:r>
            <a:endParaRPr lang="en-US" sz="9600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504518" y="4339357"/>
            <a:ext cx="9444320" cy="707886"/>
          </a:xfrm>
          <a:prstGeom prst="rect">
            <a:avLst/>
          </a:prstGeom>
          <a:solidFill>
            <a:schemeClr val="tx1"/>
          </a:solidFill>
        </p:spPr>
        <p:txBody>
          <a:bodyPr wrap="square" lIns="0" rIns="0" rtlCol="0">
            <a:spAutoFit/>
          </a:bodyPr>
          <a:lstStyle/>
          <a:p>
            <a:r>
              <a:rPr lang="en-US" sz="4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Year of Birth ≠ Principle of attitude &amp; Behavior</a:t>
            </a:r>
            <a:endParaRPr lang="en-US" sz="6000" b="1" dirty="0" smtClean="0"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44816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5721181" y="-36381"/>
            <a:ext cx="12192000" cy="6894381"/>
          </a:xfrm>
          <a:prstGeom prst="rect">
            <a:avLst/>
          </a:prstGeom>
          <a:solidFill>
            <a:srgbClr val="9999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449821" y="-67327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0914" y="825346"/>
            <a:ext cx="1034795" cy="103479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741352" y="1287334"/>
            <a:ext cx="3035696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2400" b="1" dirty="0" smtClean="0">
                <a:latin typeface="+mj-lt"/>
              </a:rPr>
              <a:t>A privileg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123370" y="1338779"/>
            <a:ext cx="3035696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2400" b="1" dirty="0" smtClean="0">
                <a:latin typeface="+mj-lt"/>
              </a:rPr>
              <a:t>Community products</a:t>
            </a:r>
          </a:p>
        </p:txBody>
      </p:sp>
      <p:pic>
        <p:nvPicPr>
          <p:cNvPr id="7" name="Picture 4" descr="http://vignette2.wikia.nocookie.net/omori/images/5/58/Instagram-Icon.png/revision/2014061916285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919" y="1929160"/>
            <a:ext cx="1072900" cy="107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http://a4.mzstatic.com/us/r30/Purple7/v4/11/c3/f0/11c3f0a2-8f14-2667-ce43-1a4fa8783387/icon51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7868" y="1855637"/>
            <a:ext cx="849828" cy="849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http://icons.iconarchive.com/icons/yootheme/social-bookmark/512/social-facebook-box-blue-icon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0963" y="2697892"/>
            <a:ext cx="663781" cy="663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2250714" y="2357370"/>
            <a:ext cx="3035696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2400" b="1" dirty="0" smtClean="0">
                <a:latin typeface="+mj-lt"/>
              </a:rPr>
              <a:t>New toy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258816" y="2317833"/>
            <a:ext cx="3035696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2400" b="1" dirty="0" smtClean="0">
                <a:latin typeface="+mj-lt"/>
              </a:rPr>
              <a:t>Human sense</a:t>
            </a:r>
          </a:p>
        </p:txBody>
      </p:sp>
      <p:sp>
        <p:nvSpPr>
          <p:cNvPr id="14" name="Freeform 25"/>
          <p:cNvSpPr>
            <a:spLocks noEditPoints="1"/>
          </p:cNvSpPr>
          <p:nvPr/>
        </p:nvSpPr>
        <p:spPr bwMode="auto">
          <a:xfrm>
            <a:off x="5902035" y="3839811"/>
            <a:ext cx="1365151" cy="850094"/>
          </a:xfrm>
          <a:custGeom>
            <a:avLst/>
            <a:gdLst>
              <a:gd name="T0" fmla="*/ 203 w 215"/>
              <a:gd name="T1" fmla="*/ 89 h 140"/>
              <a:gd name="T2" fmla="*/ 203 w 215"/>
              <a:gd name="T3" fmla="*/ 49 h 140"/>
              <a:gd name="T4" fmla="*/ 206 w 215"/>
              <a:gd name="T5" fmla="*/ 44 h 140"/>
              <a:gd name="T6" fmla="*/ 200 w 215"/>
              <a:gd name="T7" fmla="*/ 37 h 140"/>
              <a:gd name="T8" fmla="*/ 112 w 215"/>
              <a:gd name="T9" fmla="*/ 2 h 140"/>
              <a:gd name="T10" fmla="*/ 94 w 215"/>
              <a:gd name="T11" fmla="*/ 2 h 140"/>
              <a:gd name="T12" fmla="*/ 6 w 215"/>
              <a:gd name="T13" fmla="*/ 37 h 140"/>
              <a:gd name="T14" fmla="*/ 0 w 215"/>
              <a:gd name="T15" fmla="*/ 44 h 140"/>
              <a:gd name="T16" fmla="*/ 6 w 215"/>
              <a:gd name="T17" fmla="*/ 51 h 140"/>
              <a:gd name="T18" fmla="*/ 39 w 215"/>
              <a:gd name="T19" fmla="*/ 64 h 140"/>
              <a:gd name="T20" fmla="*/ 39 w 215"/>
              <a:gd name="T21" fmla="*/ 112 h 140"/>
              <a:gd name="T22" fmla="*/ 40 w 215"/>
              <a:gd name="T23" fmla="*/ 115 h 140"/>
              <a:gd name="T24" fmla="*/ 103 w 215"/>
              <a:gd name="T25" fmla="*/ 140 h 140"/>
              <a:gd name="T26" fmla="*/ 166 w 215"/>
              <a:gd name="T27" fmla="*/ 115 h 140"/>
              <a:gd name="T28" fmla="*/ 167 w 215"/>
              <a:gd name="T29" fmla="*/ 112 h 140"/>
              <a:gd name="T30" fmla="*/ 167 w 215"/>
              <a:gd name="T31" fmla="*/ 64 h 140"/>
              <a:gd name="T32" fmla="*/ 195 w 215"/>
              <a:gd name="T33" fmla="*/ 53 h 140"/>
              <a:gd name="T34" fmla="*/ 195 w 215"/>
              <a:gd name="T35" fmla="*/ 89 h 140"/>
              <a:gd name="T36" fmla="*/ 183 w 215"/>
              <a:gd name="T37" fmla="*/ 104 h 140"/>
              <a:gd name="T38" fmla="*/ 199 w 215"/>
              <a:gd name="T39" fmla="*/ 120 h 140"/>
              <a:gd name="T40" fmla="*/ 215 w 215"/>
              <a:gd name="T41" fmla="*/ 104 h 140"/>
              <a:gd name="T42" fmla="*/ 203 w 215"/>
              <a:gd name="T43" fmla="*/ 89 h 140"/>
              <a:gd name="T44" fmla="*/ 159 w 215"/>
              <a:gd name="T45" fmla="*/ 110 h 140"/>
              <a:gd name="T46" fmla="*/ 47 w 215"/>
              <a:gd name="T47" fmla="*/ 110 h 140"/>
              <a:gd name="T48" fmla="*/ 47 w 215"/>
              <a:gd name="T49" fmla="*/ 67 h 140"/>
              <a:gd name="T50" fmla="*/ 94 w 215"/>
              <a:gd name="T51" fmla="*/ 86 h 140"/>
              <a:gd name="T52" fmla="*/ 103 w 215"/>
              <a:gd name="T53" fmla="*/ 88 h 140"/>
              <a:gd name="T54" fmla="*/ 112 w 215"/>
              <a:gd name="T55" fmla="*/ 86 h 140"/>
              <a:gd name="T56" fmla="*/ 159 w 215"/>
              <a:gd name="T57" fmla="*/ 67 h 140"/>
              <a:gd name="T58" fmla="*/ 159 w 215"/>
              <a:gd name="T59" fmla="*/ 110 h 140"/>
              <a:gd name="T60" fmla="*/ 109 w 215"/>
              <a:gd name="T61" fmla="*/ 79 h 140"/>
              <a:gd name="T62" fmla="*/ 97 w 215"/>
              <a:gd name="T63" fmla="*/ 79 h 140"/>
              <a:gd name="T64" fmla="*/ 11 w 215"/>
              <a:gd name="T65" fmla="*/ 44 h 140"/>
              <a:gd name="T66" fmla="*/ 97 w 215"/>
              <a:gd name="T67" fmla="*/ 9 h 140"/>
              <a:gd name="T68" fmla="*/ 109 w 215"/>
              <a:gd name="T69" fmla="*/ 9 h 140"/>
              <a:gd name="T70" fmla="*/ 195 w 215"/>
              <a:gd name="T71" fmla="*/ 44 h 140"/>
              <a:gd name="T72" fmla="*/ 195 w 215"/>
              <a:gd name="T73" fmla="*/ 44 h 140"/>
              <a:gd name="T74" fmla="*/ 195 w 215"/>
              <a:gd name="T75" fmla="*/ 44 h 140"/>
              <a:gd name="T76" fmla="*/ 109 w 215"/>
              <a:gd name="T77" fmla="*/ 79 h 140"/>
              <a:gd name="T78" fmla="*/ 199 w 215"/>
              <a:gd name="T79" fmla="*/ 112 h 140"/>
              <a:gd name="T80" fmla="*/ 191 w 215"/>
              <a:gd name="T81" fmla="*/ 104 h 140"/>
              <a:gd name="T82" fmla="*/ 199 w 215"/>
              <a:gd name="T83" fmla="*/ 96 h 140"/>
              <a:gd name="T84" fmla="*/ 207 w 215"/>
              <a:gd name="T85" fmla="*/ 104 h 140"/>
              <a:gd name="T86" fmla="*/ 199 w 215"/>
              <a:gd name="T87" fmla="*/ 112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15" h="140">
                <a:moveTo>
                  <a:pt x="203" y="89"/>
                </a:moveTo>
                <a:cubicBezTo>
                  <a:pt x="203" y="49"/>
                  <a:pt x="203" y="49"/>
                  <a:pt x="203" y="49"/>
                </a:cubicBezTo>
                <a:cubicBezTo>
                  <a:pt x="205" y="47"/>
                  <a:pt x="206" y="45"/>
                  <a:pt x="206" y="44"/>
                </a:cubicBezTo>
                <a:cubicBezTo>
                  <a:pt x="206" y="42"/>
                  <a:pt x="205" y="39"/>
                  <a:pt x="200" y="37"/>
                </a:cubicBezTo>
                <a:cubicBezTo>
                  <a:pt x="112" y="2"/>
                  <a:pt x="112" y="2"/>
                  <a:pt x="112" y="2"/>
                </a:cubicBezTo>
                <a:cubicBezTo>
                  <a:pt x="107" y="0"/>
                  <a:pt x="99" y="0"/>
                  <a:pt x="94" y="2"/>
                </a:cubicBezTo>
                <a:cubicBezTo>
                  <a:pt x="6" y="37"/>
                  <a:pt x="6" y="37"/>
                  <a:pt x="6" y="37"/>
                </a:cubicBezTo>
                <a:cubicBezTo>
                  <a:pt x="1" y="39"/>
                  <a:pt x="0" y="42"/>
                  <a:pt x="0" y="44"/>
                </a:cubicBezTo>
                <a:cubicBezTo>
                  <a:pt x="0" y="46"/>
                  <a:pt x="1" y="49"/>
                  <a:pt x="6" y="51"/>
                </a:cubicBezTo>
                <a:cubicBezTo>
                  <a:pt x="39" y="64"/>
                  <a:pt x="39" y="64"/>
                  <a:pt x="39" y="64"/>
                </a:cubicBezTo>
                <a:cubicBezTo>
                  <a:pt x="39" y="112"/>
                  <a:pt x="39" y="112"/>
                  <a:pt x="39" y="112"/>
                </a:cubicBezTo>
                <a:cubicBezTo>
                  <a:pt x="39" y="113"/>
                  <a:pt x="39" y="114"/>
                  <a:pt x="40" y="115"/>
                </a:cubicBezTo>
                <a:cubicBezTo>
                  <a:pt x="58" y="131"/>
                  <a:pt x="80" y="140"/>
                  <a:pt x="103" y="140"/>
                </a:cubicBezTo>
                <a:cubicBezTo>
                  <a:pt x="126" y="140"/>
                  <a:pt x="148" y="131"/>
                  <a:pt x="166" y="115"/>
                </a:cubicBezTo>
                <a:cubicBezTo>
                  <a:pt x="167" y="114"/>
                  <a:pt x="167" y="113"/>
                  <a:pt x="167" y="112"/>
                </a:cubicBezTo>
                <a:cubicBezTo>
                  <a:pt x="167" y="64"/>
                  <a:pt x="167" y="64"/>
                  <a:pt x="167" y="64"/>
                </a:cubicBezTo>
                <a:cubicBezTo>
                  <a:pt x="195" y="53"/>
                  <a:pt x="195" y="53"/>
                  <a:pt x="195" y="5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188" y="90"/>
                  <a:pt x="183" y="97"/>
                  <a:pt x="183" y="104"/>
                </a:cubicBezTo>
                <a:cubicBezTo>
                  <a:pt x="183" y="113"/>
                  <a:pt x="190" y="120"/>
                  <a:pt x="199" y="120"/>
                </a:cubicBezTo>
                <a:cubicBezTo>
                  <a:pt x="208" y="120"/>
                  <a:pt x="215" y="113"/>
                  <a:pt x="215" y="104"/>
                </a:cubicBezTo>
                <a:cubicBezTo>
                  <a:pt x="215" y="97"/>
                  <a:pt x="210" y="90"/>
                  <a:pt x="203" y="89"/>
                </a:cubicBezTo>
                <a:close/>
                <a:moveTo>
                  <a:pt x="159" y="110"/>
                </a:moveTo>
                <a:cubicBezTo>
                  <a:pt x="127" y="139"/>
                  <a:pt x="79" y="139"/>
                  <a:pt x="47" y="110"/>
                </a:cubicBezTo>
                <a:cubicBezTo>
                  <a:pt x="47" y="67"/>
                  <a:pt x="47" y="67"/>
                  <a:pt x="47" y="67"/>
                </a:cubicBezTo>
                <a:cubicBezTo>
                  <a:pt x="94" y="86"/>
                  <a:pt x="94" y="86"/>
                  <a:pt x="94" y="86"/>
                </a:cubicBezTo>
                <a:cubicBezTo>
                  <a:pt x="97" y="87"/>
                  <a:pt x="100" y="88"/>
                  <a:pt x="103" y="88"/>
                </a:cubicBezTo>
                <a:cubicBezTo>
                  <a:pt x="106" y="88"/>
                  <a:pt x="109" y="87"/>
                  <a:pt x="112" y="86"/>
                </a:cubicBezTo>
                <a:cubicBezTo>
                  <a:pt x="159" y="67"/>
                  <a:pt x="159" y="67"/>
                  <a:pt x="159" y="67"/>
                </a:cubicBezTo>
                <a:lnTo>
                  <a:pt x="159" y="110"/>
                </a:lnTo>
                <a:close/>
                <a:moveTo>
                  <a:pt x="109" y="79"/>
                </a:moveTo>
                <a:cubicBezTo>
                  <a:pt x="106" y="80"/>
                  <a:pt x="100" y="80"/>
                  <a:pt x="97" y="79"/>
                </a:cubicBezTo>
                <a:cubicBezTo>
                  <a:pt x="11" y="44"/>
                  <a:pt x="11" y="44"/>
                  <a:pt x="11" y="44"/>
                </a:cubicBezTo>
                <a:cubicBezTo>
                  <a:pt x="97" y="9"/>
                  <a:pt x="97" y="9"/>
                  <a:pt x="97" y="9"/>
                </a:cubicBezTo>
                <a:cubicBezTo>
                  <a:pt x="100" y="8"/>
                  <a:pt x="106" y="8"/>
                  <a:pt x="109" y="9"/>
                </a:cubicBezTo>
                <a:cubicBezTo>
                  <a:pt x="195" y="44"/>
                  <a:pt x="195" y="44"/>
                  <a:pt x="195" y="44"/>
                </a:cubicBezTo>
                <a:cubicBezTo>
                  <a:pt x="195" y="44"/>
                  <a:pt x="195" y="44"/>
                  <a:pt x="195" y="44"/>
                </a:cubicBezTo>
                <a:cubicBezTo>
                  <a:pt x="195" y="44"/>
                  <a:pt x="195" y="44"/>
                  <a:pt x="195" y="44"/>
                </a:cubicBezTo>
                <a:lnTo>
                  <a:pt x="109" y="79"/>
                </a:lnTo>
                <a:close/>
                <a:moveTo>
                  <a:pt x="199" y="112"/>
                </a:moveTo>
                <a:cubicBezTo>
                  <a:pt x="195" y="112"/>
                  <a:pt x="191" y="108"/>
                  <a:pt x="191" y="104"/>
                </a:cubicBezTo>
                <a:cubicBezTo>
                  <a:pt x="191" y="100"/>
                  <a:pt x="195" y="96"/>
                  <a:pt x="199" y="96"/>
                </a:cubicBezTo>
                <a:cubicBezTo>
                  <a:pt x="203" y="96"/>
                  <a:pt x="207" y="100"/>
                  <a:pt x="207" y="104"/>
                </a:cubicBezTo>
                <a:cubicBezTo>
                  <a:pt x="207" y="108"/>
                  <a:pt x="203" y="112"/>
                  <a:pt x="199" y="112"/>
                </a:cubicBezTo>
                <a:close/>
              </a:path>
            </a:pathLst>
          </a:custGeom>
          <a:solidFill>
            <a:srgbClr val="10A18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7372287" y="3609380"/>
            <a:ext cx="3919168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2400" b="1" dirty="0" smtClean="0">
                <a:latin typeface="+mj-lt"/>
              </a:rPr>
              <a:t>For parents to finally leave them alone.</a:t>
            </a:r>
          </a:p>
          <a:p>
            <a:r>
              <a:rPr lang="en-US" sz="2400" b="1" dirty="0" smtClean="0">
                <a:latin typeface="+mj-lt"/>
              </a:rPr>
              <a:t>Choose your own life &amp; risk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512658" y="3574112"/>
            <a:ext cx="3035696" cy="83099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2400" b="1" dirty="0" smtClean="0">
                <a:latin typeface="+mj-lt"/>
              </a:rPr>
              <a:t>For yourself and bright future</a:t>
            </a:r>
          </a:p>
        </p:txBody>
      </p:sp>
      <p:pic>
        <p:nvPicPr>
          <p:cNvPr id="18434" name="Picture 2" descr="http://acctvco.com/wp-content/uploads/2013/01/icon_sml_retire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7271" y="4970623"/>
            <a:ext cx="1305101" cy="14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2331857" y="5160186"/>
            <a:ext cx="3035696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2400" b="1" dirty="0" smtClean="0">
                <a:latin typeface="+mj-lt"/>
              </a:rPr>
              <a:t>A destination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372287" y="5160186"/>
            <a:ext cx="3035696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2400" b="1" dirty="0" smtClean="0">
                <a:latin typeface="+mj-lt"/>
              </a:rPr>
              <a:t>A new journey</a:t>
            </a:r>
          </a:p>
        </p:txBody>
      </p:sp>
    </p:spTree>
    <p:extLst>
      <p:ext uri="{BB962C8B-B14F-4D97-AF65-F5344CB8AC3E}">
        <p14:creationId xmlns:p14="http://schemas.microsoft.com/office/powerpoint/2010/main" val="484207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12" grpId="0"/>
      <p:bldP spid="13" grpId="0"/>
      <p:bldP spid="14" grpId="0" animBg="1"/>
      <p:bldP spid="15" grpId="0"/>
      <p:bldP spid="16" grpId="0"/>
      <p:bldP spid="18" grpId="0"/>
      <p:bldP spid="2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901479" y="5057266"/>
            <a:ext cx="6909146" cy="707886"/>
          </a:xfrm>
          <a:prstGeom prst="rect">
            <a:avLst/>
          </a:prstGeom>
          <a:solidFill>
            <a:schemeClr val="tx1"/>
          </a:solidFill>
        </p:spPr>
        <p:txBody>
          <a:bodyPr wrap="square" lIns="0" rIns="0" rtlCol="0">
            <a:spAutoFit/>
          </a:bodyPr>
          <a:lstStyle/>
          <a:p>
            <a:r>
              <a:rPr lang="en-US" sz="4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Rethinking conventional theories</a:t>
            </a:r>
            <a:endParaRPr lang="en-US" sz="6000" b="1" dirty="0" smtClean="0"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Flowchart: Connector 4"/>
          <p:cNvSpPr/>
          <p:nvPr/>
        </p:nvSpPr>
        <p:spPr>
          <a:xfrm>
            <a:off x="529879" y="4745249"/>
            <a:ext cx="1190625" cy="1171575"/>
          </a:xfrm>
          <a:prstGeom prst="flowChartConnector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600" dirty="0" smtClean="0">
                <a:solidFill>
                  <a:schemeClr val="bg1"/>
                </a:solidFill>
              </a:rPr>
              <a:t>2</a:t>
            </a:r>
            <a:endParaRPr lang="en-US" sz="9600" dirty="0">
              <a:solidFill>
                <a:schemeClr val="bg1"/>
              </a:solidFill>
            </a:endParaRPr>
          </a:p>
        </p:txBody>
      </p:sp>
      <p:pic>
        <p:nvPicPr>
          <p:cNvPr id="20482" name="Picture 2" descr="http://www.indexmundi.com/graphs/population-pyramids/thailand-population-pyramid-2014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6229" y="432878"/>
            <a:ext cx="6189521" cy="4312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7763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13"/>
          <p:cNvGrpSpPr>
            <a:grpSpLocks noChangeAspect="1"/>
          </p:cNvGrpSpPr>
          <p:nvPr/>
        </p:nvGrpSpPr>
        <p:grpSpPr bwMode="auto">
          <a:xfrm>
            <a:off x="1296540" y="-89088"/>
            <a:ext cx="4569752" cy="6947088"/>
            <a:chOff x="1472" y="1309"/>
            <a:chExt cx="1297" cy="1972"/>
          </a:xfrm>
          <a:solidFill>
            <a:schemeClr val="accent1"/>
          </a:solidFill>
        </p:grpSpPr>
        <p:sp>
          <p:nvSpPr>
            <p:cNvPr id="7" name="Freeform 14"/>
            <p:cNvSpPr>
              <a:spLocks/>
            </p:cNvSpPr>
            <p:nvPr/>
          </p:nvSpPr>
          <p:spPr bwMode="auto">
            <a:xfrm>
              <a:off x="1945" y="2794"/>
              <a:ext cx="80" cy="308"/>
            </a:xfrm>
            <a:custGeom>
              <a:avLst/>
              <a:gdLst>
                <a:gd name="T0" fmla="*/ 0 w 80"/>
                <a:gd name="T1" fmla="*/ 308 h 308"/>
                <a:gd name="T2" fmla="*/ 0 w 80"/>
                <a:gd name="T3" fmla="*/ 0 h 308"/>
                <a:gd name="T4" fmla="*/ 80 w 80"/>
                <a:gd name="T5" fmla="*/ 0 h 308"/>
                <a:gd name="T6" fmla="*/ 77 w 80"/>
                <a:gd name="T7" fmla="*/ 308 h 308"/>
                <a:gd name="T8" fmla="*/ 0 w 80"/>
                <a:gd name="T9" fmla="*/ 308 h 308"/>
                <a:gd name="T10" fmla="*/ 0 w 80"/>
                <a:gd name="T11" fmla="*/ 308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08">
                  <a:moveTo>
                    <a:pt x="0" y="308"/>
                  </a:moveTo>
                  <a:lnTo>
                    <a:pt x="0" y="0"/>
                  </a:lnTo>
                  <a:lnTo>
                    <a:pt x="80" y="0"/>
                  </a:lnTo>
                  <a:lnTo>
                    <a:pt x="77" y="308"/>
                  </a:lnTo>
                  <a:lnTo>
                    <a:pt x="0" y="308"/>
                  </a:lnTo>
                  <a:lnTo>
                    <a:pt x="0" y="3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15"/>
            <p:cNvSpPr>
              <a:spLocks noEditPoints="1"/>
            </p:cNvSpPr>
            <p:nvPr/>
          </p:nvSpPr>
          <p:spPr bwMode="auto">
            <a:xfrm>
              <a:off x="1472" y="1540"/>
              <a:ext cx="1165" cy="1165"/>
            </a:xfrm>
            <a:custGeom>
              <a:avLst/>
              <a:gdLst>
                <a:gd name="T0" fmla="*/ 0 w 493"/>
                <a:gd name="T1" fmla="*/ 247 h 493"/>
                <a:gd name="T2" fmla="*/ 246 w 493"/>
                <a:gd name="T3" fmla="*/ 0 h 493"/>
                <a:gd name="T4" fmla="*/ 246 w 493"/>
                <a:gd name="T5" fmla="*/ 0 h 493"/>
                <a:gd name="T6" fmla="*/ 493 w 493"/>
                <a:gd name="T7" fmla="*/ 247 h 493"/>
                <a:gd name="T8" fmla="*/ 493 w 493"/>
                <a:gd name="T9" fmla="*/ 247 h 493"/>
                <a:gd name="T10" fmla="*/ 246 w 493"/>
                <a:gd name="T11" fmla="*/ 493 h 493"/>
                <a:gd name="T12" fmla="*/ 246 w 493"/>
                <a:gd name="T13" fmla="*/ 493 h 493"/>
                <a:gd name="T14" fmla="*/ 0 w 493"/>
                <a:gd name="T15" fmla="*/ 247 h 493"/>
                <a:gd name="T16" fmla="*/ 81 w 493"/>
                <a:gd name="T17" fmla="*/ 81 h 493"/>
                <a:gd name="T18" fmla="*/ 13 w 493"/>
                <a:gd name="T19" fmla="*/ 247 h 493"/>
                <a:gd name="T20" fmla="*/ 13 w 493"/>
                <a:gd name="T21" fmla="*/ 247 h 493"/>
                <a:gd name="T22" fmla="*/ 81 w 493"/>
                <a:gd name="T23" fmla="*/ 412 h 493"/>
                <a:gd name="T24" fmla="*/ 81 w 493"/>
                <a:gd name="T25" fmla="*/ 412 h 493"/>
                <a:gd name="T26" fmla="*/ 246 w 493"/>
                <a:gd name="T27" fmla="*/ 480 h 493"/>
                <a:gd name="T28" fmla="*/ 246 w 493"/>
                <a:gd name="T29" fmla="*/ 480 h 493"/>
                <a:gd name="T30" fmla="*/ 412 w 493"/>
                <a:gd name="T31" fmla="*/ 412 h 493"/>
                <a:gd name="T32" fmla="*/ 412 w 493"/>
                <a:gd name="T33" fmla="*/ 412 h 493"/>
                <a:gd name="T34" fmla="*/ 480 w 493"/>
                <a:gd name="T35" fmla="*/ 247 h 493"/>
                <a:gd name="T36" fmla="*/ 480 w 493"/>
                <a:gd name="T37" fmla="*/ 247 h 493"/>
                <a:gd name="T38" fmla="*/ 412 w 493"/>
                <a:gd name="T39" fmla="*/ 81 h 493"/>
                <a:gd name="T40" fmla="*/ 412 w 493"/>
                <a:gd name="T41" fmla="*/ 81 h 493"/>
                <a:gd name="T42" fmla="*/ 246 w 493"/>
                <a:gd name="T43" fmla="*/ 13 h 493"/>
                <a:gd name="T44" fmla="*/ 246 w 493"/>
                <a:gd name="T45" fmla="*/ 13 h 493"/>
                <a:gd name="T46" fmla="*/ 81 w 493"/>
                <a:gd name="T47" fmla="*/ 81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93" h="493">
                  <a:moveTo>
                    <a:pt x="0" y="247"/>
                  </a:moveTo>
                  <a:cubicBezTo>
                    <a:pt x="0" y="110"/>
                    <a:pt x="110" y="0"/>
                    <a:pt x="246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382" y="0"/>
                    <a:pt x="493" y="110"/>
                    <a:pt x="493" y="247"/>
                  </a:cubicBezTo>
                  <a:cubicBezTo>
                    <a:pt x="493" y="247"/>
                    <a:pt x="493" y="247"/>
                    <a:pt x="493" y="247"/>
                  </a:cubicBezTo>
                  <a:cubicBezTo>
                    <a:pt x="493" y="383"/>
                    <a:pt x="382" y="493"/>
                    <a:pt x="246" y="493"/>
                  </a:cubicBezTo>
                  <a:cubicBezTo>
                    <a:pt x="246" y="493"/>
                    <a:pt x="246" y="493"/>
                    <a:pt x="246" y="493"/>
                  </a:cubicBezTo>
                  <a:cubicBezTo>
                    <a:pt x="110" y="493"/>
                    <a:pt x="0" y="383"/>
                    <a:pt x="0" y="247"/>
                  </a:cubicBezTo>
                  <a:close/>
                  <a:moveTo>
                    <a:pt x="81" y="81"/>
                  </a:moveTo>
                  <a:cubicBezTo>
                    <a:pt x="39" y="124"/>
                    <a:pt x="13" y="182"/>
                    <a:pt x="13" y="247"/>
                  </a:cubicBezTo>
                  <a:cubicBezTo>
                    <a:pt x="13" y="247"/>
                    <a:pt x="13" y="247"/>
                    <a:pt x="13" y="247"/>
                  </a:cubicBezTo>
                  <a:cubicBezTo>
                    <a:pt x="13" y="311"/>
                    <a:pt x="39" y="369"/>
                    <a:pt x="81" y="412"/>
                  </a:cubicBezTo>
                  <a:cubicBezTo>
                    <a:pt x="81" y="412"/>
                    <a:pt x="81" y="412"/>
                    <a:pt x="81" y="412"/>
                  </a:cubicBezTo>
                  <a:cubicBezTo>
                    <a:pt x="124" y="454"/>
                    <a:pt x="182" y="480"/>
                    <a:pt x="246" y="480"/>
                  </a:cubicBezTo>
                  <a:cubicBezTo>
                    <a:pt x="246" y="480"/>
                    <a:pt x="246" y="480"/>
                    <a:pt x="246" y="480"/>
                  </a:cubicBezTo>
                  <a:cubicBezTo>
                    <a:pt x="311" y="480"/>
                    <a:pt x="369" y="454"/>
                    <a:pt x="412" y="412"/>
                  </a:cubicBezTo>
                  <a:cubicBezTo>
                    <a:pt x="412" y="412"/>
                    <a:pt x="412" y="412"/>
                    <a:pt x="412" y="412"/>
                  </a:cubicBezTo>
                  <a:cubicBezTo>
                    <a:pt x="454" y="369"/>
                    <a:pt x="480" y="311"/>
                    <a:pt x="480" y="247"/>
                  </a:cubicBezTo>
                  <a:cubicBezTo>
                    <a:pt x="480" y="247"/>
                    <a:pt x="480" y="247"/>
                    <a:pt x="480" y="247"/>
                  </a:cubicBezTo>
                  <a:cubicBezTo>
                    <a:pt x="480" y="182"/>
                    <a:pt x="454" y="124"/>
                    <a:pt x="412" y="81"/>
                  </a:cubicBezTo>
                  <a:cubicBezTo>
                    <a:pt x="412" y="81"/>
                    <a:pt x="412" y="81"/>
                    <a:pt x="412" y="81"/>
                  </a:cubicBezTo>
                  <a:cubicBezTo>
                    <a:pt x="369" y="39"/>
                    <a:pt x="311" y="13"/>
                    <a:pt x="246" y="13"/>
                  </a:cubicBezTo>
                  <a:cubicBezTo>
                    <a:pt x="246" y="13"/>
                    <a:pt x="246" y="13"/>
                    <a:pt x="246" y="13"/>
                  </a:cubicBezTo>
                  <a:cubicBezTo>
                    <a:pt x="182" y="13"/>
                    <a:pt x="124" y="39"/>
                    <a:pt x="81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16"/>
            <p:cNvSpPr>
              <a:spLocks/>
            </p:cNvSpPr>
            <p:nvPr/>
          </p:nvSpPr>
          <p:spPr bwMode="auto">
            <a:xfrm>
              <a:off x="1680" y="1606"/>
              <a:ext cx="824" cy="929"/>
            </a:xfrm>
            <a:custGeom>
              <a:avLst/>
              <a:gdLst>
                <a:gd name="T0" fmla="*/ 88 w 349"/>
                <a:gd name="T1" fmla="*/ 205 h 393"/>
                <a:gd name="T2" fmla="*/ 47 w 349"/>
                <a:gd name="T3" fmla="*/ 205 h 393"/>
                <a:gd name="T4" fmla="*/ 16 w 349"/>
                <a:gd name="T5" fmla="*/ 214 h 393"/>
                <a:gd name="T6" fmla="*/ 25 w 349"/>
                <a:gd name="T7" fmla="*/ 295 h 393"/>
                <a:gd name="T8" fmla="*/ 75 w 349"/>
                <a:gd name="T9" fmla="*/ 319 h 393"/>
                <a:gd name="T10" fmla="*/ 81 w 349"/>
                <a:gd name="T11" fmla="*/ 364 h 393"/>
                <a:gd name="T12" fmla="*/ 175 w 349"/>
                <a:gd name="T13" fmla="*/ 370 h 393"/>
                <a:gd name="T14" fmla="*/ 211 w 349"/>
                <a:gd name="T15" fmla="*/ 293 h 393"/>
                <a:gd name="T16" fmla="*/ 159 w 349"/>
                <a:gd name="T17" fmla="*/ 259 h 393"/>
                <a:gd name="T18" fmla="*/ 185 w 349"/>
                <a:gd name="T19" fmla="*/ 283 h 393"/>
                <a:gd name="T20" fmla="*/ 224 w 349"/>
                <a:gd name="T21" fmla="*/ 266 h 393"/>
                <a:gd name="T22" fmla="*/ 201 w 349"/>
                <a:gd name="T23" fmla="*/ 241 h 393"/>
                <a:gd name="T24" fmla="*/ 257 w 349"/>
                <a:gd name="T25" fmla="*/ 226 h 393"/>
                <a:gd name="T26" fmla="*/ 289 w 349"/>
                <a:gd name="T27" fmla="*/ 264 h 393"/>
                <a:gd name="T28" fmla="*/ 304 w 349"/>
                <a:gd name="T29" fmla="*/ 224 h 393"/>
                <a:gd name="T30" fmla="*/ 314 w 349"/>
                <a:gd name="T31" fmla="*/ 201 h 393"/>
                <a:gd name="T32" fmla="*/ 336 w 349"/>
                <a:gd name="T33" fmla="*/ 217 h 393"/>
                <a:gd name="T34" fmla="*/ 345 w 349"/>
                <a:gd name="T35" fmla="*/ 184 h 393"/>
                <a:gd name="T36" fmla="*/ 306 w 349"/>
                <a:gd name="T37" fmla="*/ 106 h 393"/>
                <a:gd name="T38" fmla="*/ 271 w 349"/>
                <a:gd name="T39" fmla="*/ 50 h 393"/>
                <a:gd name="T40" fmla="*/ 232 w 349"/>
                <a:gd name="T41" fmla="*/ 19 h 393"/>
                <a:gd name="T42" fmla="*/ 185 w 349"/>
                <a:gd name="T43" fmla="*/ 0 h 393"/>
                <a:gd name="T44" fmla="*/ 209 w 349"/>
                <a:gd name="T45" fmla="*/ 48 h 393"/>
                <a:gd name="T46" fmla="*/ 194 w 349"/>
                <a:gd name="T47" fmla="*/ 83 h 393"/>
                <a:gd name="T48" fmla="*/ 185 w 349"/>
                <a:gd name="T49" fmla="*/ 85 h 393"/>
                <a:gd name="T50" fmla="*/ 161 w 349"/>
                <a:gd name="T51" fmla="*/ 114 h 393"/>
                <a:gd name="T52" fmla="*/ 157 w 349"/>
                <a:gd name="T53" fmla="*/ 106 h 393"/>
                <a:gd name="T54" fmla="*/ 110 w 349"/>
                <a:gd name="T55" fmla="*/ 114 h 393"/>
                <a:gd name="T56" fmla="*/ 109 w 349"/>
                <a:gd name="T57" fmla="*/ 133 h 393"/>
                <a:gd name="T58" fmla="*/ 120 w 349"/>
                <a:gd name="T59" fmla="*/ 128 h 393"/>
                <a:gd name="T60" fmla="*/ 132 w 349"/>
                <a:gd name="T61" fmla="*/ 120 h 393"/>
                <a:gd name="T62" fmla="*/ 149 w 349"/>
                <a:gd name="T63" fmla="*/ 128 h 393"/>
                <a:gd name="T64" fmla="*/ 128 w 349"/>
                <a:gd name="T65" fmla="*/ 142 h 393"/>
                <a:gd name="T66" fmla="*/ 85 w 349"/>
                <a:gd name="T67" fmla="*/ 150 h 393"/>
                <a:gd name="T68" fmla="*/ 65 w 349"/>
                <a:gd name="T69" fmla="*/ 171 h 393"/>
                <a:gd name="T70" fmla="*/ 36 w 349"/>
                <a:gd name="T71" fmla="*/ 187 h 393"/>
                <a:gd name="T72" fmla="*/ 60 w 349"/>
                <a:gd name="T73" fmla="*/ 187 h 393"/>
                <a:gd name="T74" fmla="*/ 104 w 349"/>
                <a:gd name="T75" fmla="*/ 191 h 393"/>
                <a:gd name="T76" fmla="*/ 108 w 349"/>
                <a:gd name="T77" fmla="*/ 189 h 393"/>
                <a:gd name="T78" fmla="*/ 123 w 349"/>
                <a:gd name="T79" fmla="*/ 205 h 393"/>
                <a:gd name="T80" fmla="*/ 136 w 349"/>
                <a:gd name="T81" fmla="*/ 209 h 393"/>
                <a:gd name="T82" fmla="*/ 158 w 349"/>
                <a:gd name="T83" fmla="*/ 234 h 393"/>
                <a:gd name="T84" fmla="*/ 113 w 349"/>
                <a:gd name="T85" fmla="*/ 230 h 393"/>
                <a:gd name="T86" fmla="*/ 84 w 349"/>
                <a:gd name="T87" fmla="*/ 22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49" h="393">
                  <a:moveTo>
                    <a:pt x="84" y="220"/>
                  </a:moveTo>
                  <a:cubicBezTo>
                    <a:pt x="88" y="213"/>
                    <a:pt x="88" y="213"/>
                    <a:pt x="88" y="213"/>
                  </a:cubicBezTo>
                  <a:cubicBezTo>
                    <a:pt x="88" y="205"/>
                    <a:pt x="88" y="205"/>
                    <a:pt x="88" y="205"/>
                  </a:cubicBezTo>
                  <a:cubicBezTo>
                    <a:pt x="80" y="203"/>
                    <a:pt x="80" y="203"/>
                    <a:pt x="80" y="203"/>
                  </a:cubicBezTo>
                  <a:cubicBezTo>
                    <a:pt x="63" y="203"/>
                    <a:pt x="63" y="203"/>
                    <a:pt x="63" y="203"/>
                  </a:cubicBezTo>
                  <a:cubicBezTo>
                    <a:pt x="47" y="205"/>
                    <a:pt x="47" y="205"/>
                    <a:pt x="47" y="205"/>
                  </a:cubicBezTo>
                  <a:cubicBezTo>
                    <a:pt x="31" y="201"/>
                    <a:pt x="31" y="201"/>
                    <a:pt x="31" y="201"/>
                  </a:cubicBezTo>
                  <a:cubicBezTo>
                    <a:pt x="31" y="201"/>
                    <a:pt x="28" y="211"/>
                    <a:pt x="30" y="213"/>
                  </a:cubicBezTo>
                  <a:cubicBezTo>
                    <a:pt x="32" y="215"/>
                    <a:pt x="16" y="214"/>
                    <a:pt x="16" y="214"/>
                  </a:cubicBezTo>
                  <a:cubicBezTo>
                    <a:pt x="16" y="214"/>
                    <a:pt x="6" y="224"/>
                    <a:pt x="6" y="227"/>
                  </a:cubicBezTo>
                  <a:cubicBezTo>
                    <a:pt x="5" y="230"/>
                    <a:pt x="0" y="248"/>
                    <a:pt x="0" y="248"/>
                  </a:cubicBezTo>
                  <a:cubicBezTo>
                    <a:pt x="0" y="248"/>
                    <a:pt x="0" y="293"/>
                    <a:pt x="25" y="295"/>
                  </a:cubicBezTo>
                  <a:cubicBezTo>
                    <a:pt x="50" y="298"/>
                    <a:pt x="59" y="300"/>
                    <a:pt x="62" y="300"/>
                  </a:cubicBezTo>
                  <a:cubicBezTo>
                    <a:pt x="65" y="300"/>
                    <a:pt x="69" y="311"/>
                    <a:pt x="69" y="311"/>
                  </a:cubicBezTo>
                  <a:cubicBezTo>
                    <a:pt x="75" y="319"/>
                    <a:pt x="75" y="319"/>
                    <a:pt x="75" y="319"/>
                  </a:cubicBezTo>
                  <a:cubicBezTo>
                    <a:pt x="68" y="328"/>
                    <a:pt x="68" y="328"/>
                    <a:pt x="68" y="328"/>
                  </a:cubicBezTo>
                  <a:cubicBezTo>
                    <a:pt x="83" y="352"/>
                    <a:pt x="83" y="352"/>
                    <a:pt x="83" y="352"/>
                  </a:cubicBezTo>
                  <a:cubicBezTo>
                    <a:pt x="81" y="364"/>
                    <a:pt x="81" y="364"/>
                    <a:pt x="81" y="364"/>
                  </a:cubicBezTo>
                  <a:cubicBezTo>
                    <a:pt x="81" y="364"/>
                    <a:pt x="101" y="393"/>
                    <a:pt x="120" y="393"/>
                  </a:cubicBezTo>
                  <a:cubicBezTo>
                    <a:pt x="138" y="393"/>
                    <a:pt x="160" y="382"/>
                    <a:pt x="160" y="377"/>
                  </a:cubicBezTo>
                  <a:cubicBezTo>
                    <a:pt x="160" y="372"/>
                    <a:pt x="175" y="370"/>
                    <a:pt x="175" y="370"/>
                  </a:cubicBezTo>
                  <a:cubicBezTo>
                    <a:pt x="177" y="354"/>
                    <a:pt x="177" y="354"/>
                    <a:pt x="177" y="354"/>
                  </a:cubicBezTo>
                  <a:cubicBezTo>
                    <a:pt x="175" y="344"/>
                    <a:pt x="175" y="344"/>
                    <a:pt x="175" y="344"/>
                  </a:cubicBezTo>
                  <a:cubicBezTo>
                    <a:pt x="175" y="344"/>
                    <a:pt x="214" y="293"/>
                    <a:pt x="211" y="293"/>
                  </a:cubicBezTo>
                  <a:cubicBezTo>
                    <a:pt x="208" y="292"/>
                    <a:pt x="200" y="307"/>
                    <a:pt x="189" y="304"/>
                  </a:cubicBezTo>
                  <a:cubicBezTo>
                    <a:pt x="179" y="301"/>
                    <a:pt x="171" y="283"/>
                    <a:pt x="171" y="283"/>
                  </a:cubicBezTo>
                  <a:cubicBezTo>
                    <a:pt x="159" y="259"/>
                    <a:pt x="159" y="259"/>
                    <a:pt x="159" y="259"/>
                  </a:cubicBezTo>
                  <a:cubicBezTo>
                    <a:pt x="153" y="242"/>
                    <a:pt x="153" y="242"/>
                    <a:pt x="153" y="242"/>
                  </a:cubicBezTo>
                  <a:cubicBezTo>
                    <a:pt x="161" y="246"/>
                    <a:pt x="161" y="246"/>
                    <a:pt x="161" y="246"/>
                  </a:cubicBezTo>
                  <a:cubicBezTo>
                    <a:pt x="161" y="246"/>
                    <a:pt x="185" y="275"/>
                    <a:pt x="185" y="283"/>
                  </a:cubicBezTo>
                  <a:cubicBezTo>
                    <a:pt x="185" y="290"/>
                    <a:pt x="198" y="288"/>
                    <a:pt x="198" y="288"/>
                  </a:cubicBezTo>
                  <a:cubicBezTo>
                    <a:pt x="219" y="276"/>
                    <a:pt x="219" y="276"/>
                    <a:pt x="219" y="276"/>
                  </a:cubicBezTo>
                  <a:cubicBezTo>
                    <a:pt x="224" y="266"/>
                    <a:pt x="224" y="266"/>
                    <a:pt x="224" y="266"/>
                  </a:cubicBezTo>
                  <a:cubicBezTo>
                    <a:pt x="236" y="252"/>
                    <a:pt x="236" y="252"/>
                    <a:pt x="236" y="252"/>
                  </a:cubicBezTo>
                  <a:cubicBezTo>
                    <a:pt x="223" y="245"/>
                    <a:pt x="223" y="245"/>
                    <a:pt x="223" y="245"/>
                  </a:cubicBezTo>
                  <a:cubicBezTo>
                    <a:pt x="223" y="245"/>
                    <a:pt x="205" y="246"/>
                    <a:pt x="201" y="241"/>
                  </a:cubicBezTo>
                  <a:cubicBezTo>
                    <a:pt x="197" y="236"/>
                    <a:pt x="196" y="232"/>
                    <a:pt x="200" y="232"/>
                  </a:cubicBezTo>
                  <a:cubicBezTo>
                    <a:pt x="205" y="231"/>
                    <a:pt x="218" y="242"/>
                    <a:pt x="226" y="238"/>
                  </a:cubicBezTo>
                  <a:cubicBezTo>
                    <a:pt x="234" y="235"/>
                    <a:pt x="257" y="226"/>
                    <a:pt x="257" y="226"/>
                  </a:cubicBezTo>
                  <a:cubicBezTo>
                    <a:pt x="271" y="238"/>
                    <a:pt x="271" y="238"/>
                    <a:pt x="271" y="238"/>
                  </a:cubicBezTo>
                  <a:cubicBezTo>
                    <a:pt x="277" y="236"/>
                    <a:pt x="277" y="236"/>
                    <a:pt x="277" y="236"/>
                  </a:cubicBezTo>
                  <a:cubicBezTo>
                    <a:pt x="289" y="264"/>
                    <a:pt x="289" y="264"/>
                    <a:pt x="289" y="264"/>
                  </a:cubicBezTo>
                  <a:cubicBezTo>
                    <a:pt x="297" y="266"/>
                    <a:pt x="297" y="266"/>
                    <a:pt x="297" y="266"/>
                  </a:cubicBezTo>
                  <a:cubicBezTo>
                    <a:pt x="298" y="245"/>
                    <a:pt x="298" y="245"/>
                    <a:pt x="298" y="245"/>
                  </a:cubicBezTo>
                  <a:cubicBezTo>
                    <a:pt x="304" y="224"/>
                    <a:pt x="304" y="224"/>
                    <a:pt x="304" y="224"/>
                  </a:cubicBezTo>
                  <a:cubicBezTo>
                    <a:pt x="310" y="208"/>
                    <a:pt x="310" y="208"/>
                    <a:pt x="310" y="208"/>
                  </a:cubicBezTo>
                  <a:cubicBezTo>
                    <a:pt x="310" y="195"/>
                    <a:pt x="310" y="195"/>
                    <a:pt x="310" y="195"/>
                  </a:cubicBezTo>
                  <a:cubicBezTo>
                    <a:pt x="314" y="201"/>
                    <a:pt x="314" y="201"/>
                    <a:pt x="314" y="201"/>
                  </a:cubicBezTo>
                  <a:cubicBezTo>
                    <a:pt x="325" y="208"/>
                    <a:pt x="325" y="208"/>
                    <a:pt x="325" y="208"/>
                  </a:cubicBezTo>
                  <a:cubicBezTo>
                    <a:pt x="332" y="212"/>
                    <a:pt x="332" y="212"/>
                    <a:pt x="332" y="212"/>
                  </a:cubicBezTo>
                  <a:cubicBezTo>
                    <a:pt x="336" y="217"/>
                    <a:pt x="336" y="217"/>
                    <a:pt x="336" y="217"/>
                  </a:cubicBezTo>
                  <a:cubicBezTo>
                    <a:pt x="340" y="207"/>
                    <a:pt x="340" y="207"/>
                    <a:pt x="340" y="207"/>
                  </a:cubicBezTo>
                  <a:cubicBezTo>
                    <a:pt x="346" y="207"/>
                    <a:pt x="346" y="207"/>
                    <a:pt x="346" y="207"/>
                  </a:cubicBezTo>
                  <a:cubicBezTo>
                    <a:pt x="346" y="207"/>
                    <a:pt x="349" y="188"/>
                    <a:pt x="345" y="184"/>
                  </a:cubicBezTo>
                  <a:cubicBezTo>
                    <a:pt x="343" y="182"/>
                    <a:pt x="334" y="184"/>
                    <a:pt x="334" y="184"/>
                  </a:cubicBezTo>
                  <a:cubicBezTo>
                    <a:pt x="334" y="184"/>
                    <a:pt x="338" y="150"/>
                    <a:pt x="336" y="142"/>
                  </a:cubicBezTo>
                  <a:cubicBezTo>
                    <a:pt x="335" y="134"/>
                    <a:pt x="312" y="111"/>
                    <a:pt x="306" y="106"/>
                  </a:cubicBezTo>
                  <a:cubicBezTo>
                    <a:pt x="300" y="101"/>
                    <a:pt x="296" y="73"/>
                    <a:pt x="296" y="73"/>
                  </a:cubicBezTo>
                  <a:cubicBezTo>
                    <a:pt x="296" y="73"/>
                    <a:pt x="301" y="69"/>
                    <a:pt x="292" y="65"/>
                  </a:cubicBezTo>
                  <a:cubicBezTo>
                    <a:pt x="283" y="61"/>
                    <a:pt x="273" y="50"/>
                    <a:pt x="271" y="50"/>
                  </a:cubicBezTo>
                  <a:cubicBezTo>
                    <a:pt x="269" y="49"/>
                    <a:pt x="263" y="48"/>
                    <a:pt x="260" y="46"/>
                  </a:cubicBezTo>
                  <a:cubicBezTo>
                    <a:pt x="257" y="44"/>
                    <a:pt x="240" y="30"/>
                    <a:pt x="240" y="30"/>
                  </a:cubicBezTo>
                  <a:cubicBezTo>
                    <a:pt x="232" y="19"/>
                    <a:pt x="232" y="19"/>
                    <a:pt x="232" y="19"/>
                  </a:cubicBezTo>
                  <a:cubicBezTo>
                    <a:pt x="240" y="19"/>
                    <a:pt x="240" y="19"/>
                    <a:pt x="240" y="19"/>
                  </a:cubicBezTo>
                  <a:cubicBezTo>
                    <a:pt x="218" y="10"/>
                    <a:pt x="218" y="10"/>
                    <a:pt x="218" y="1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204" y="21"/>
                    <a:pt x="204" y="21"/>
                    <a:pt x="204" y="21"/>
                  </a:cubicBezTo>
                  <a:cubicBezTo>
                    <a:pt x="217" y="40"/>
                    <a:pt x="217" y="40"/>
                    <a:pt x="217" y="40"/>
                  </a:cubicBezTo>
                  <a:cubicBezTo>
                    <a:pt x="209" y="48"/>
                    <a:pt x="209" y="48"/>
                    <a:pt x="209" y="48"/>
                  </a:cubicBezTo>
                  <a:cubicBezTo>
                    <a:pt x="209" y="48"/>
                    <a:pt x="202" y="48"/>
                    <a:pt x="202" y="50"/>
                  </a:cubicBezTo>
                  <a:cubicBezTo>
                    <a:pt x="202" y="53"/>
                    <a:pt x="190" y="58"/>
                    <a:pt x="190" y="62"/>
                  </a:cubicBezTo>
                  <a:cubicBezTo>
                    <a:pt x="190" y="65"/>
                    <a:pt x="194" y="83"/>
                    <a:pt x="194" y="83"/>
                  </a:cubicBezTo>
                  <a:cubicBezTo>
                    <a:pt x="200" y="98"/>
                    <a:pt x="200" y="98"/>
                    <a:pt x="200" y="98"/>
                  </a:cubicBezTo>
                  <a:cubicBezTo>
                    <a:pt x="188" y="80"/>
                    <a:pt x="188" y="80"/>
                    <a:pt x="188" y="80"/>
                  </a:cubicBezTo>
                  <a:cubicBezTo>
                    <a:pt x="185" y="85"/>
                    <a:pt x="185" y="85"/>
                    <a:pt x="185" y="85"/>
                  </a:cubicBezTo>
                  <a:cubicBezTo>
                    <a:pt x="186" y="93"/>
                    <a:pt x="186" y="93"/>
                    <a:pt x="186" y="93"/>
                  </a:cubicBezTo>
                  <a:cubicBezTo>
                    <a:pt x="173" y="100"/>
                    <a:pt x="173" y="100"/>
                    <a:pt x="173" y="100"/>
                  </a:cubicBezTo>
                  <a:cubicBezTo>
                    <a:pt x="171" y="102"/>
                    <a:pt x="163" y="112"/>
                    <a:pt x="161" y="114"/>
                  </a:cubicBezTo>
                  <a:cubicBezTo>
                    <a:pt x="159" y="116"/>
                    <a:pt x="148" y="113"/>
                    <a:pt x="148" y="113"/>
                  </a:cubicBezTo>
                  <a:cubicBezTo>
                    <a:pt x="147" y="105"/>
                    <a:pt x="147" y="105"/>
                    <a:pt x="147" y="105"/>
                  </a:cubicBezTo>
                  <a:cubicBezTo>
                    <a:pt x="157" y="106"/>
                    <a:pt x="157" y="106"/>
                    <a:pt x="157" y="106"/>
                  </a:cubicBezTo>
                  <a:cubicBezTo>
                    <a:pt x="150" y="97"/>
                    <a:pt x="150" y="97"/>
                    <a:pt x="150" y="97"/>
                  </a:cubicBezTo>
                  <a:cubicBezTo>
                    <a:pt x="150" y="97"/>
                    <a:pt x="136" y="93"/>
                    <a:pt x="133" y="94"/>
                  </a:cubicBezTo>
                  <a:cubicBezTo>
                    <a:pt x="130" y="95"/>
                    <a:pt x="110" y="114"/>
                    <a:pt x="110" y="114"/>
                  </a:cubicBezTo>
                  <a:cubicBezTo>
                    <a:pt x="102" y="121"/>
                    <a:pt x="102" y="121"/>
                    <a:pt x="102" y="121"/>
                  </a:cubicBezTo>
                  <a:cubicBezTo>
                    <a:pt x="102" y="131"/>
                    <a:pt x="102" y="131"/>
                    <a:pt x="102" y="131"/>
                  </a:cubicBezTo>
                  <a:cubicBezTo>
                    <a:pt x="109" y="133"/>
                    <a:pt x="109" y="133"/>
                    <a:pt x="109" y="133"/>
                  </a:cubicBezTo>
                  <a:cubicBezTo>
                    <a:pt x="112" y="143"/>
                    <a:pt x="112" y="143"/>
                    <a:pt x="112" y="143"/>
                  </a:cubicBezTo>
                  <a:cubicBezTo>
                    <a:pt x="117" y="140"/>
                    <a:pt x="117" y="140"/>
                    <a:pt x="117" y="140"/>
                  </a:cubicBezTo>
                  <a:cubicBezTo>
                    <a:pt x="120" y="128"/>
                    <a:pt x="120" y="128"/>
                    <a:pt x="120" y="128"/>
                  </a:cubicBezTo>
                  <a:cubicBezTo>
                    <a:pt x="132" y="112"/>
                    <a:pt x="132" y="112"/>
                    <a:pt x="132" y="112"/>
                  </a:cubicBezTo>
                  <a:cubicBezTo>
                    <a:pt x="138" y="112"/>
                    <a:pt x="138" y="112"/>
                    <a:pt x="138" y="112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28" y="130"/>
                    <a:pt x="128" y="130"/>
                    <a:pt x="128" y="130"/>
                  </a:cubicBezTo>
                  <a:cubicBezTo>
                    <a:pt x="140" y="128"/>
                    <a:pt x="140" y="128"/>
                    <a:pt x="140" y="128"/>
                  </a:cubicBezTo>
                  <a:cubicBezTo>
                    <a:pt x="149" y="128"/>
                    <a:pt x="149" y="128"/>
                    <a:pt x="149" y="128"/>
                  </a:cubicBezTo>
                  <a:cubicBezTo>
                    <a:pt x="149" y="128"/>
                    <a:pt x="150" y="134"/>
                    <a:pt x="145" y="134"/>
                  </a:cubicBezTo>
                  <a:cubicBezTo>
                    <a:pt x="139" y="134"/>
                    <a:pt x="132" y="135"/>
                    <a:pt x="132" y="135"/>
                  </a:cubicBezTo>
                  <a:cubicBezTo>
                    <a:pt x="128" y="142"/>
                    <a:pt x="128" y="142"/>
                    <a:pt x="128" y="142"/>
                  </a:cubicBezTo>
                  <a:cubicBezTo>
                    <a:pt x="128" y="142"/>
                    <a:pt x="115" y="154"/>
                    <a:pt x="113" y="154"/>
                  </a:cubicBezTo>
                  <a:cubicBezTo>
                    <a:pt x="111" y="154"/>
                    <a:pt x="101" y="148"/>
                    <a:pt x="99" y="148"/>
                  </a:cubicBezTo>
                  <a:cubicBezTo>
                    <a:pt x="97" y="148"/>
                    <a:pt x="90" y="148"/>
                    <a:pt x="85" y="150"/>
                  </a:cubicBezTo>
                  <a:cubicBezTo>
                    <a:pt x="81" y="152"/>
                    <a:pt x="73" y="154"/>
                    <a:pt x="71" y="154"/>
                  </a:cubicBezTo>
                  <a:cubicBezTo>
                    <a:pt x="69" y="155"/>
                    <a:pt x="69" y="165"/>
                    <a:pt x="69" y="165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58" y="171"/>
                    <a:pt x="58" y="171"/>
                    <a:pt x="58" y="171"/>
                  </a:cubicBezTo>
                  <a:cubicBezTo>
                    <a:pt x="51" y="168"/>
                    <a:pt x="51" y="168"/>
                    <a:pt x="51" y="168"/>
                  </a:cubicBezTo>
                  <a:cubicBezTo>
                    <a:pt x="36" y="187"/>
                    <a:pt x="36" y="187"/>
                    <a:pt x="36" y="187"/>
                  </a:cubicBezTo>
                  <a:cubicBezTo>
                    <a:pt x="43" y="189"/>
                    <a:pt x="43" y="189"/>
                    <a:pt x="43" y="189"/>
                  </a:cubicBezTo>
                  <a:cubicBezTo>
                    <a:pt x="47" y="191"/>
                    <a:pt x="47" y="191"/>
                    <a:pt x="47" y="191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83" y="178"/>
                    <a:pt x="83" y="178"/>
                    <a:pt x="83" y="178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104" y="191"/>
                    <a:pt x="104" y="191"/>
                    <a:pt x="104" y="191"/>
                  </a:cubicBezTo>
                  <a:cubicBezTo>
                    <a:pt x="105" y="205"/>
                    <a:pt x="105" y="205"/>
                    <a:pt x="105" y="205"/>
                  </a:cubicBezTo>
                  <a:cubicBezTo>
                    <a:pt x="109" y="205"/>
                    <a:pt x="109" y="205"/>
                    <a:pt x="109" y="205"/>
                  </a:cubicBezTo>
                  <a:cubicBezTo>
                    <a:pt x="108" y="189"/>
                    <a:pt x="108" y="189"/>
                    <a:pt x="108" y="189"/>
                  </a:cubicBezTo>
                  <a:cubicBezTo>
                    <a:pt x="112" y="200"/>
                    <a:pt x="112" y="200"/>
                    <a:pt x="112" y="200"/>
                  </a:cubicBezTo>
                  <a:cubicBezTo>
                    <a:pt x="116" y="206"/>
                    <a:pt x="116" y="206"/>
                    <a:pt x="116" y="206"/>
                  </a:cubicBezTo>
                  <a:cubicBezTo>
                    <a:pt x="123" y="205"/>
                    <a:pt x="123" y="205"/>
                    <a:pt x="123" y="205"/>
                  </a:cubicBezTo>
                  <a:cubicBezTo>
                    <a:pt x="120" y="194"/>
                    <a:pt x="120" y="194"/>
                    <a:pt x="120" y="194"/>
                  </a:cubicBezTo>
                  <a:cubicBezTo>
                    <a:pt x="135" y="199"/>
                    <a:pt x="135" y="199"/>
                    <a:pt x="135" y="199"/>
                  </a:cubicBezTo>
                  <a:cubicBezTo>
                    <a:pt x="136" y="209"/>
                    <a:pt x="136" y="209"/>
                    <a:pt x="136" y="209"/>
                  </a:cubicBezTo>
                  <a:cubicBezTo>
                    <a:pt x="154" y="219"/>
                    <a:pt x="154" y="219"/>
                    <a:pt x="154" y="219"/>
                  </a:cubicBezTo>
                  <a:cubicBezTo>
                    <a:pt x="158" y="226"/>
                    <a:pt x="158" y="226"/>
                    <a:pt x="158" y="226"/>
                  </a:cubicBezTo>
                  <a:cubicBezTo>
                    <a:pt x="158" y="234"/>
                    <a:pt x="158" y="234"/>
                    <a:pt x="158" y="234"/>
                  </a:cubicBezTo>
                  <a:cubicBezTo>
                    <a:pt x="136" y="236"/>
                    <a:pt x="136" y="236"/>
                    <a:pt x="136" y="236"/>
                  </a:cubicBezTo>
                  <a:cubicBezTo>
                    <a:pt x="122" y="230"/>
                    <a:pt x="122" y="230"/>
                    <a:pt x="122" y="230"/>
                  </a:cubicBezTo>
                  <a:cubicBezTo>
                    <a:pt x="122" y="230"/>
                    <a:pt x="115" y="229"/>
                    <a:pt x="113" y="230"/>
                  </a:cubicBezTo>
                  <a:cubicBezTo>
                    <a:pt x="111" y="232"/>
                    <a:pt x="108" y="232"/>
                    <a:pt x="108" y="232"/>
                  </a:cubicBezTo>
                  <a:cubicBezTo>
                    <a:pt x="93" y="226"/>
                    <a:pt x="93" y="226"/>
                    <a:pt x="93" y="226"/>
                  </a:cubicBezTo>
                  <a:lnTo>
                    <a:pt x="84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17"/>
            <p:cNvSpPr>
              <a:spLocks/>
            </p:cNvSpPr>
            <p:nvPr/>
          </p:nvSpPr>
          <p:spPr bwMode="auto">
            <a:xfrm>
              <a:off x="1630" y="1578"/>
              <a:ext cx="478" cy="229"/>
            </a:xfrm>
            <a:custGeom>
              <a:avLst/>
              <a:gdLst>
                <a:gd name="T0" fmla="*/ 0 w 202"/>
                <a:gd name="T1" fmla="*/ 80 h 97"/>
                <a:gd name="T2" fmla="*/ 17 w 202"/>
                <a:gd name="T3" fmla="*/ 77 h 97"/>
                <a:gd name="T4" fmla="*/ 20 w 202"/>
                <a:gd name="T5" fmla="*/ 83 h 97"/>
                <a:gd name="T6" fmla="*/ 26 w 202"/>
                <a:gd name="T7" fmla="*/ 94 h 97"/>
                <a:gd name="T8" fmla="*/ 32 w 202"/>
                <a:gd name="T9" fmla="*/ 97 h 97"/>
                <a:gd name="T10" fmla="*/ 38 w 202"/>
                <a:gd name="T11" fmla="*/ 87 h 97"/>
                <a:gd name="T12" fmla="*/ 31 w 202"/>
                <a:gd name="T13" fmla="*/ 79 h 97"/>
                <a:gd name="T14" fmla="*/ 31 w 202"/>
                <a:gd name="T15" fmla="*/ 70 h 97"/>
                <a:gd name="T16" fmla="*/ 37 w 202"/>
                <a:gd name="T17" fmla="*/ 70 h 97"/>
                <a:gd name="T18" fmla="*/ 37 w 202"/>
                <a:gd name="T19" fmla="*/ 80 h 97"/>
                <a:gd name="T20" fmla="*/ 41 w 202"/>
                <a:gd name="T21" fmla="*/ 82 h 97"/>
                <a:gd name="T22" fmla="*/ 47 w 202"/>
                <a:gd name="T23" fmla="*/ 73 h 97"/>
                <a:gd name="T24" fmla="*/ 58 w 202"/>
                <a:gd name="T25" fmla="*/ 66 h 97"/>
                <a:gd name="T26" fmla="*/ 71 w 202"/>
                <a:gd name="T27" fmla="*/ 59 h 97"/>
                <a:gd name="T28" fmla="*/ 70 w 202"/>
                <a:gd name="T29" fmla="*/ 50 h 97"/>
                <a:gd name="T30" fmla="*/ 53 w 202"/>
                <a:gd name="T31" fmla="*/ 54 h 97"/>
                <a:gd name="T32" fmla="*/ 47 w 202"/>
                <a:gd name="T33" fmla="*/ 52 h 97"/>
                <a:gd name="T34" fmla="*/ 57 w 202"/>
                <a:gd name="T35" fmla="*/ 44 h 97"/>
                <a:gd name="T36" fmla="*/ 69 w 202"/>
                <a:gd name="T37" fmla="*/ 38 h 97"/>
                <a:gd name="T38" fmla="*/ 78 w 202"/>
                <a:gd name="T39" fmla="*/ 33 h 97"/>
                <a:gd name="T40" fmla="*/ 90 w 202"/>
                <a:gd name="T41" fmla="*/ 32 h 97"/>
                <a:gd name="T42" fmla="*/ 92 w 202"/>
                <a:gd name="T43" fmla="*/ 37 h 97"/>
                <a:gd name="T44" fmla="*/ 90 w 202"/>
                <a:gd name="T45" fmla="*/ 38 h 97"/>
                <a:gd name="T46" fmla="*/ 87 w 202"/>
                <a:gd name="T47" fmla="*/ 40 h 97"/>
                <a:gd name="T48" fmla="*/ 94 w 202"/>
                <a:gd name="T49" fmla="*/ 41 h 97"/>
                <a:gd name="T50" fmla="*/ 107 w 202"/>
                <a:gd name="T51" fmla="*/ 35 h 97"/>
                <a:gd name="T52" fmla="*/ 112 w 202"/>
                <a:gd name="T53" fmla="*/ 30 h 97"/>
                <a:gd name="T54" fmla="*/ 120 w 202"/>
                <a:gd name="T55" fmla="*/ 25 h 97"/>
                <a:gd name="T56" fmla="*/ 123 w 202"/>
                <a:gd name="T57" fmla="*/ 28 h 97"/>
                <a:gd name="T58" fmla="*/ 123 w 202"/>
                <a:gd name="T59" fmla="*/ 30 h 97"/>
                <a:gd name="T60" fmla="*/ 133 w 202"/>
                <a:gd name="T61" fmla="*/ 28 h 97"/>
                <a:gd name="T62" fmla="*/ 140 w 202"/>
                <a:gd name="T63" fmla="*/ 20 h 97"/>
                <a:gd name="T64" fmla="*/ 151 w 202"/>
                <a:gd name="T65" fmla="*/ 15 h 97"/>
                <a:gd name="T66" fmla="*/ 157 w 202"/>
                <a:gd name="T67" fmla="*/ 15 h 97"/>
                <a:gd name="T68" fmla="*/ 173 w 202"/>
                <a:gd name="T69" fmla="*/ 15 h 97"/>
                <a:gd name="T70" fmla="*/ 188 w 202"/>
                <a:gd name="T71" fmla="*/ 15 h 97"/>
                <a:gd name="T72" fmla="*/ 194 w 202"/>
                <a:gd name="T73" fmla="*/ 5 h 97"/>
                <a:gd name="T74" fmla="*/ 194 w 202"/>
                <a:gd name="T75" fmla="*/ 2 h 97"/>
                <a:gd name="T76" fmla="*/ 186 w 202"/>
                <a:gd name="T77" fmla="*/ 0 h 97"/>
                <a:gd name="T78" fmla="*/ 180 w 202"/>
                <a:gd name="T79" fmla="*/ 1 h 97"/>
                <a:gd name="T80" fmla="*/ 171 w 202"/>
                <a:gd name="T81" fmla="*/ 5 h 97"/>
                <a:gd name="T82" fmla="*/ 157 w 202"/>
                <a:gd name="T83" fmla="*/ 7 h 97"/>
                <a:gd name="T84" fmla="*/ 141 w 202"/>
                <a:gd name="T85" fmla="*/ 8 h 97"/>
                <a:gd name="T86" fmla="*/ 135 w 202"/>
                <a:gd name="T87" fmla="*/ 6 h 97"/>
                <a:gd name="T88" fmla="*/ 135 w 202"/>
                <a:gd name="T89" fmla="*/ 4 h 97"/>
                <a:gd name="T90" fmla="*/ 131 w 202"/>
                <a:gd name="T91" fmla="*/ 1 h 97"/>
                <a:gd name="T92" fmla="*/ 77 w 202"/>
                <a:gd name="T93" fmla="*/ 19 h 97"/>
                <a:gd name="T94" fmla="*/ 0 w 202"/>
                <a:gd name="T95" fmla="*/ 8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2" h="97">
                  <a:moveTo>
                    <a:pt x="0" y="80"/>
                  </a:moveTo>
                  <a:cubicBezTo>
                    <a:pt x="17" y="77"/>
                    <a:pt x="17" y="77"/>
                    <a:pt x="17" y="77"/>
                  </a:cubicBezTo>
                  <a:cubicBezTo>
                    <a:pt x="17" y="77"/>
                    <a:pt x="19" y="80"/>
                    <a:pt x="20" y="83"/>
                  </a:cubicBezTo>
                  <a:cubicBezTo>
                    <a:pt x="20" y="85"/>
                    <a:pt x="26" y="94"/>
                    <a:pt x="26" y="94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2" y="97"/>
                    <a:pt x="36" y="90"/>
                    <a:pt x="38" y="87"/>
                  </a:cubicBezTo>
                  <a:cubicBezTo>
                    <a:pt x="39" y="83"/>
                    <a:pt x="31" y="79"/>
                    <a:pt x="31" y="79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0"/>
                    <a:pt x="37" y="66"/>
                    <a:pt x="37" y="70"/>
                  </a:cubicBezTo>
                  <a:cubicBezTo>
                    <a:pt x="37" y="75"/>
                    <a:pt x="37" y="80"/>
                    <a:pt x="37" y="80"/>
                  </a:cubicBezTo>
                  <a:cubicBezTo>
                    <a:pt x="41" y="82"/>
                    <a:pt x="41" y="82"/>
                    <a:pt x="41" y="82"/>
                  </a:cubicBezTo>
                  <a:cubicBezTo>
                    <a:pt x="41" y="82"/>
                    <a:pt x="45" y="74"/>
                    <a:pt x="47" y="73"/>
                  </a:cubicBezTo>
                  <a:cubicBezTo>
                    <a:pt x="49" y="71"/>
                    <a:pt x="58" y="66"/>
                    <a:pt x="58" y="66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3" y="50"/>
                    <a:pt x="70" y="50"/>
                  </a:cubicBezTo>
                  <a:cubicBezTo>
                    <a:pt x="67" y="50"/>
                    <a:pt x="53" y="54"/>
                    <a:pt x="53" y="54"/>
                  </a:cubicBezTo>
                  <a:cubicBezTo>
                    <a:pt x="53" y="54"/>
                    <a:pt x="43" y="56"/>
                    <a:pt x="47" y="52"/>
                  </a:cubicBezTo>
                  <a:cubicBezTo>
                    <a:pt x="52" y="48"/>
                    <a:pt x="57" y="44"/>
                    <a:pt x="57" y="44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78" y="33"/>
                    <a:pt x="78" y="33"/>
                    <a:pt x="78" y="33"/>
                  </a:cubicBezTo>
                  <a:cubicBezTo>
                    <a:pt x="83" y="32"/>
                    <a:pt x="88" y="31"/>
                    <a:pt x="90" y="32"/>
                  </a:cubicBezTo>
                  <a:cubicBezTo>
                    <a:pt x="92" y="32"/>
                    <a:pt x="94" y="36"/>
                    <a:pt x="92" y="37"/>
                  </a:cubicBezTo>
                  <a:cubicBezTo>
                    <a:pt x="90" y="38"/>
                    <a:pt x="92" y="35"/>
                    <a:pt x="90" y="38"/>
                  </a:cubicBezTo>
                  <a:cubicBezTo>
                    <a:pt x="87" y="40"/>
                    <a:pt x="87" y="40"/>
                    <a:pt x="87" y="40"/>
                  </a:cubicBezTo>
                  <a:cubicBezTo>
                    <a:pt x="87" y="40"/>
                    <a:pt x="92" y="42"/>
                    <a:pt x="94" y="41"/>
                  </a:cubicBezTo>
                  <a:cubicBezTo>
                    <a:pt x="97" y="40"/>
                    <a:pt x="107" y="35"/>
                    <a:pt x="107" y="35"/>
                  </a:cubicBezTo>
                  <a:cubicBezTo>
                    <a:pt x="107" y="35"/>
                    <a:pt x="110" y="31"/>
                    <a:pt x="112" y="30"/>
                  </a:cubicBezTo>
                  <a:cubicBezTo>
                    <a:pt x="114" y="28"/>
                    <a:pt x="118" y="25"/>
                    <a:pt x="120" y="25"/>
                  </a:cubicBezTo>
                  <a:cubicBezTo>
                    <a:pt x="122" y="25"/>
                    <a:pt x="123" y="26"/>
                    <a:pt x="123" y="28"/>
                  </a:cubicBezTo>
                  <a:cubicBezTo>
                    <a:pt x="123" y="30"/>
                    <a:pt x="123" y="30"/>
                    <a:pt x="123" y="30"/>
                  </a:cubicBezTo>
                  <a:cubicBezTo>
                    <a:pt x="123" y="30"/>
                    <a:pt x="129" y="30"/>
                    <a:pt x="133" y="28"/>
                  </a:cubicBezTo>
                  <a:cubicBezTo>
                    <a:pt x="137" y="25"/>
                    <a:pt x="140" y="20"/>
                    <a:pt x="140" y="20"/>
                  </a:cubicBezTo>
                  <a:cubicBezTo>
                    <a:pt x="140" y="20"/>
                    <a:pt x="145" y="15"/>
                    <a:pt x="151" y="15"/>
                  </a:cubicBezTo>
                  <a:cubicBezTo>
                    <a:pt x="157" y="15"/>
                    <a:pt x="153" y="15"/>
                    <a:pt x="157" y="15"/>
                  </a:cubicBezTo>
                  <a:cubicBezTo>
                    <a:pt x="162" y="15"/>
                    <a:pt x="169" y="15"/>
                    <a:pt x="173" y="15"/>
                  </a:cubicBezTo>
                  <a:cubicBezTo>
                    <a:pt x="177" y="15"/>
                    <a:pt x="188" y="15"/>
                    <a:pt x="188" y="15"/>
                  </a:cubicBezTo>
                  <a:cubicBezTo>
                    <a:pt x="194" y="5"/>
                    <a:pt x="194" y="5"/>
                    <a:pt x="194" y="5"/>
                  </a:cubicBezTo>
                  <a:cubicBezTo>
                    <a:pt x="194" y="5"/>
                    <a:pt x="202" y="4"/>
                    <a:pt x="194" y="2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6" y="0"/>
                    <a:pt x="183" y="1"/>
                    <a:pt x="180" y="1"/>
                  </a:cubicBezTo>
                  <a:cubicBezTo>
                    <a:pt x="177" y="2"/>
                    <a:pt x="177" y="5"/>
                    <a:pt x="171" y="5"/>
                  </a:cubicBezTo>
                  <a:cubicBezTo>
                    <a:pt x="165" y="6"/>
                    <a:pt x="163" y="7"/>
                    <a:pt x="157" y="7"/>
                  </a:cubicBezTo>
                  <a:cubicBezTo>
                    <a:pt x="150" y="8"/>
                    <a:pt x="145" y="9"/>
                    <a:pt x="141" y="8"/>
                  </a:cubicBezTo>
                  <a:cubicBezTo>
                    <a:pt x="138" y="7"/>
                    <a:pt x="135" y="8"/>
                    <a:pt x="135" y="6"/>
                  </a:cubicBezTo>
                  <a:cubicBezTo>
                    <a:pt x="135" y="4"/>
                    <a:pt x="135" y="4"/>
                    <a:pt x="135" y="4"/>
                  </a:cubicBezTo>
                  <a:cubicBezTo>
                    <a:pt x="131" y="1"/>
                    <a:pt x="131" y="1"/>
                    <a:pt x="131" y="1"/>
                  </a:cubicBezTo>
                  <a:cubicBezTo>
                    <a:pt x="131" y="1"/>
                    <a:pt x="91" y="11"/>
                    <a:pt x="77" y="19"/>
                  </a:cubicBezTo>
                  <a:cubicBezTo>
                    <a:pt x="63" y="26"/>
                    <a:pt x="17" y="52"/>
                    <a:pt x="0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18"/>
            <p:cNvSpPr>
              <a:spLocks/>
            </p:cNvSpPr>
            <p:nvPr/>
          </p:nvSpPr>
          <p:spPr bwMode="auto">
            <a:xfrm>
              <a:off x="1654" y="1309"/>
              <a:ext cx="1115" cy="1533"/>
            </a:xfrm>
            <a:custGeom>
              <a:avLst/>
              <a:gdLst>
                <a:gd name="T0" fmla="*/ 0 w 472"/>
                <a:gd name="T1" fmla="*/ 595 h 649"/>
                <a:gd name="T2" fmla="*/ 20 w 472"/>
                <a:gd name="T3" fmla="*/ 568 h 649"/>
                <a:gd name="T4" fmla="*/ 172 w 472"/>
                <a:gd name="T5" fmla="*/ 615 h 649"/>
                <a:gd name="T6" fmla="*/ 172 w 472"/>
                <a:gd name="T7" fmla="*/ 615 h 649"/>
                <a:gd name="T8" fmla="*/ 439 w 472"/>
                <a:gd name="T9" fmla="*/ 349 h 649"/>
                <a:gd name="T10" fmla="*/ 439 w 472"/>
                <a:gd name="T11" fmla="*/ 349 h 649"/>
                <a:gd name="T12" fmla="*/ 172 w 472"/>
                <a:gd name="T13" fmla="*/ 82 h 649"/>
                <a:gd name="T14" fmla="*/ 172 w 472"/>
                <a:gd name="T15" fmla="*/ 82 h 649"/>
                <a:gd name="T16" fmla="*/ 154 w 472"/>
                <a:gd name="T17" fmla="*/ 82 h 649"/>
                <a:gd name="T18" fmla="*/ 162 w 472"/>
                <a:gd name="T19" fmla="*/ 0 h 649"/>
                <a:gd name="T20" fmla="*/ 195 w 472"/>
                <a:gd name="T21" fmla="*/ 3 h 649"/>
                <a:gd name="T22" fmla="*/ 191 w 472"/>
                <a:gd name="T23" fmla="*/ 49 h 649"/>
                <a:gd name="T24" fmla="*/ 472 w 472"/>
                <a:gd name="T25" fmla="*/ 349 h 649"/>
                <a:gd name="T26" fmla="*/ 472 w 472"/>
                <a:gd name="T27" fmla="*/ 349 h 649"/>
                <a:gd name="T28" fmla="*/ 172 w 472"/>
                <a:gd name="T29" fmla="*/ 649 h 649"/>
                <a:gd name="T30" fmla="*/ 172 w 472"/>
                <a:gd name="T31" fmla="*/ 649 h 649"/>
                <a:gd name="T32" fmla="*/ 0 w 472"/>
                <a:gd name="T33" fmla="*/ 595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2" h="649">
                  <a:moveTo>
                    <a:pt x="0" y="595"/>
                  </a:moveTo>
                  <a:cubicBezTo>
                    <a:pt x="20" y="568"/>
                    <a:pt x="20" y="568"/>
                    <a:pt x="20" y="568"/>
                  </a:cubicBezTo>
                  <a:cubicBezTo>
                    <a:pt x="63" y="598"/>
                    <a:pt x="115" y="615"/>
                    <a:pt x="172" y="615"/>
                  </a:cubicBezTo>
                  <a:cubicBezTo>
                    <a:pt x="172" y="615"/>
                    <a:pt x="172" y="615"/>
                    <a:pt x="172" y="615"/>
                  </a:cubicBezTo>
                  <a:cubicBezTo>
                    <a:pt x="319" y="615"/>
                    <a:pt x="438" y="496"/>
                    <a:pt x="439" y="349"/>
                  </a:cubicBezTo>
                  <a:cubicBezTo>
                    <a:pt x="439" y="349"/>
                    <a:pt x="439" y="349"/>
                    <a:pt x="439" y="349"/>
                  </a:cubicBezTo>
                  <a:cubicBezTo>
                    <a:pt x="438" y="202"/>
                    <a:pt x="319" y="83"/>
                    <a:pt x="172" y="82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54" y="82"/>
                    <a:pt x="154" y="82"/>
                    <a:pt x="154" y="82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95" y="3"/>
                    <a:pt x="195" y="3"/>
                    <a:pt x="195" y="3"/>
                  </a:cubicBezTo>
                  <a:cubicBezTo>
                    <a:pt x="191" y="49"/>
                    <a:pt x="191" y="49"/>
                    <a:pt x="191" y="49"/>
                  </a:cubicBezTo>
                  <a:cubicBezTo>
                    <a:pt x="348" y="59"/>
                    <a:pt x="472" y="189"/>
                    <a:pt x="472" y="349"/>
                  </a:cubicBezTo>
                  <a:cubicBezTo>
                    <a:pt x="472" y="349"/>
                    <a:pt x="472" y="349"/>
                    <a:pt x="472" y="349"/>
                  </a:cubicBezTo>
                  <a:cubicBezTo>
                    <a:pt x="472" y="515"/>
                    <a:pt x="338" y="649"/>
                    <a:pt x="172" y="649"/>
                  </a:cubicBezTo>
                  <a:cubicBezTo>
                    <a:pt x="172" y="649"/>
                    <a:pt x="172" y="649"/>
                    <a:pt x="172" y="649"/>
                  </a:cubicBezTo>
                  <a:cubicBezTo>
                    <a:pt x="108" y="649"/>
                    <a:pt x="49" y="629"/>
                    <a:pt x="0" y="5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Rectangle 19"/>
            <p:cNvSpPr>
              <a:spLocks noChangeArrowheads="1"/>
            </p:cNvSpPr>
            <p:nvPr/>
          </p:nvSpPr>
          <p:spPr bwMode="auto">
            <a:xfrm>
              <a:off x="1576" y="3078"/>
              <a:ext cx="817" cy="20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0" y="2666491"/>
            <a:ext cx="12195521" cy="707886"/>
          </a:xfrm>
          <a:prstGeom prst="rect">
            <a:avLst/>
          </a:prstGeom>
          <a:solidFill>
            <a:schemeClr val="tx1"/>
          </a:solidFill>
        </p:spPr>
        <p:txBody>
          <a:bodyPr wrap="square" lIns="0" rIns="0" rtlCol="0">
            <a:spAutoFit/>
          </a:bodyPr>
          <a:lstStyle/>
          <a:p>
            <a:r>
              <a:rPr lang="en-US" sz="4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Ministry of Education  &gt;  Ministry of Human Competitiveness </a:t>
            </a:r>
            <a:endParaRPr lang="en-US" sz="6000" b="1" dirty="0" smtClean="0"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Flowchart: Connector 4"/>
          <p:cNvSpPr/>
          <p:nvPr/>
        </p:nvSpPr>
        <p:spPr>
          <a:xfrm>
            <a:off x="211384" y="1400469"/>
            <a:ext cx="1190625" cy="1171575"/>
          </a:xfrm>
          <a:prstGeom prst="flowChartConnector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600" dirty="0">
                <a:solidFill>
                  <a:schemeClr val="bg1"/>
                </a:solidFill>
              </a:rPr>
              <a:t>3</a:t>
            </a:r>
          </a:p>
        </p:txBody>
      </p:sp>
      <p:grpSp>
        <p:nvGrpSpPr>
          <p:cNvPr id="14" name="Group 5"/>
          <p:cNvGrpSpPr>
            <a:grpSpLocks noChangeAspect="1"/>
          </p:cNvGrpSpPr>
          <p:nvPr/>
        </p:nvGrpSpPr>
        <p:grpSpPr bwMode="auto">
          <a:xfrm>
            <a:off x="10148363" y="473894"/>
            <a:ext cx="1456657" cy="1712868"/>
            <a:chOff x="3468" y="1659"/>
            <a:chExt cx="737" cy="1004"/>
          </a:xfrm>
          <a:solidFill>
            <a:schemeClr val="accent1"/>
          </a:solidFill>
        </p:grpSpPr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3838" y="1827"/>
              <a:ext cx="367" cy="824"/>
            </a:xfrm>
            <a:custGeom>
              <a:avLst/>
              <a:gdLst>
                <a:gd name="T0" fmla="*/ 9 w 155"/>
                <a:gd name="T1" fmla="*/ 2 h 349"/>
                <a:gd name="T2" fmla="*/ 2 w 155"/>
                <a:gd name="T3" fmla="*/ 18 h 349"/>
                <a:gd name="T4" fmla="*/ 128 w 155"/>
                <a:gd name="T5" fmla="*/ 302 h 349"/>
                <a:gd name="T6" fmla="*/ 155 w 155"/>
                <a:gd name="T7" fmla="*/ 349 h 349"/>
                <a:gd name="T8" fmla="*/ 143 w 155"/>
                <a:gd name="T9" fmla="*/ 295 h 349"/>
                <a:gd name="T10" fmla="*/ 23 w 155"/>
                <a:gd name="T11" fmla="*/ 12 h 349"/>
                <a:gd name="T12" fmla="*/ 9 w 155"/>
                <a:gd name="T13" fmla="*/ 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349">
                  <a:moveTo>
                    <a:pt x="9" y="2"/>
                  </a:moveTo>
                  <a:cubicBezTo>
                    <a:pt x="4" y="3"/>
                    <a:pt x="0" y="10"/>
                    <a:pt x="2" y="18"/>
                  </a:cubicBezTo>
                  <a:cubicBezTo>
                    <a:pt x="128" y="302"/>
                    <a:pt x="128" y="302"/>
                    <a:pt x="128" y="302"/>
                  </a:cubicBezTo>
                  <a:cubicBezTo>
                    <a:pt x="155" y="349"/>
                    <a:pt x="155" y="349"/>
                    <a:pt x="155" y="349"/>
                  </a:cubicBezTo>
                  <a:cubicBezTo>
                    <a:pt x="143" y="295"/>
                    <a:pt x="143" y="295"/>
                    <a:pt x="143" y="295"/>
                  </a:cubicBezTo>
                  <a:cubicBezTo>
                    <a:pt x="143" y="295"/>
                    <a:pt x="23" y="12"/>
                    <a:pt x="23" y="12"/>
                  </a:cubicBezTo>
                  <a:cubicBezTo>
                    <a:pt x="21" y="5"/>
                    <a:pt x="15" y="0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3468" y="1830"/>
              <a:ext cx="340" cy="833"/>
            </a:xfrm>
            <a:custGeom>
              <a:avLst/>
              <a:gdLst>
                <a:gd name="T0" fmla="*/ 135 w 144"/>
                <a:gd name="T1" fmla="*/ 1 h 353"/>
                <a:gd name="T2" fmla="*/ 143 w 144"/>
                <a:gd name="T3" fmla="*/ 17 h 353"/>
                <a:gd name="T4" fmla="*/ 25 w 144"/>
                <a:gd name="T5" fmla="*/ 305 h 353"/>
                <a:gd name="T6" fmla="*/ 0 w 144"/>
                <a:gd name="T7" fmla="*/ 353 h 353"/>
                <a:gd name="T8" fmla="*/ 10 w 144"/>
                <a:gd name="T9" fmla="*/ 299 h 353"/>
                <a:gd name="T10" fmla="*/ 121 w 144"/>
                <a:gd name="T11" fmla="*/ 12 h 353"/>
                <a:gd name="T12" fmla="*/ 135 w 144"/>
                <a:gd name="T13" fmla="*/ 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353">
                  <a:moveTo>
                    <a:pt x="135" y="1"/>
                  </a:moveTo>
                  <a:cubicBezTo>
                    <a:pt x="141" y="3"/>
                    <a:pt x="144" y="10"/>
                    <a:pt x="143" y="17"/>
                  </a:cubicBezTo>
                  <a:cubicBezTo>
                    <a:pt x="25" y="305"/>
                    <a:pt x="25" y="305"/>
                    <a:pt x="25" y="305"/>
                  </a:cubicBezTo>
                  <a:cubicBezTo>
                    <a:pt x="0" y="353"/>
                    <a:pt x="0" y="353"/>
                    <a:pt x="0" y="353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10" y="299"/>
                    <a:pt x="121" y="12"/>
                    <a:pt x="121" y="12"/>
                  </a:cubicBezTo>
                  <a:cubicBezTo>
                    <a:pt x="123" y="5"/>
                    <a:pt x="129" y="0"/>
                    <a:pt x="1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auto">
            <a:xfrm>
              <a:off x="3692" y="2096"/>
              <a:ext cx="281" cy="29"/>
            </a:xfrm>
            <a:custGeom>
              <a:avLst/>
              <a:gdLst>
                <a:gd name="T0" fmla="*/ 119 w 119"/>
                <a:gd name="T1" fmla="*/ 6 h 12"/>
                <a:gd name="T2" fmla="*/ 107 w 119"/>
                <a:gd name="T3" fmla="*/ 12 h 12"/>
                <a:gd name="T4" fmla="*/ 12 w 119"/>
                <a:gd name="T5" fmla="*/ 12 h 12"/>
                <a:gd name="T6" fmla="*/ 0 w 119"/>
                <a:gd name="T7" fmla="*/ 6 h 12"/>
                <a:gd name="T8" fmla="*/ 0 w 119"/>
                <a:gd name="T9" fmla="*/ 6 h 12"/>
                <a:gd name="T10" fmla="*/ 12 w 119"/>
                <a:gd name="T11" fmla="*/ 0 h 12"/>
                <a:gd name="T12" fmla="*/ 107 w 119"/>
                <a:gd name="T13" fmla="*/ 0 h 12"/>
                <a:gd name="T14" fmla="*/ 119 w 119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9" h="12">
                  <a:moveTo>
                    <a:pt x="119" y="6"/>
                  </a:moveTo>
                  <a:cubicBezTo>
                    <a:pt x="119" y="9"/>
                    <a:pt x="113" y="12"/>
                    <a:pt x="107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5" y="12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5" y="0"/>
                    <a:pt x="12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13" y="0"/>
                    <a:pt x="119" y="2"/>
                    <a:pt x="11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9"/>
            <p:cNvSpPr>
              <a:spLocks/>
            </p:cNvSpPr>
            <p:nvPr/>
          </p:nvSpPr>
          <p:spPr bwMode="auto">
            <a:xfrm>
              <a:off x="3600" y="1659"/>
              <a:ext cx="451" cy="451"/>
            </a:xfrm>
            <a:custGeom>
              <a:avLst/>
              <a:gdLst>
                <a:gd name="T0" fmla="*/ 108 w 191"/>
                <a:gd name="T1" fmla="*/ 20 h 191"/>
                <a:gd name="T2" fmla="*/ 108 w 191"/>
                <a:gd name="T3" fmla="*/ 0 h 191"/>
                <a:gd name="T4" fmla="*/ 83 w 191"/>
                <a:gd name="T5" fmla="*/ 0 h 191"/>
                <a:gd name="T6" fmla="*/ 83 w 191"/>
                <a:gd name="T7" fmla="*/ 20 h 191"/>
                <a:gd name="T8" fmla="*/ 0 w 191"/>
                <a:gd name="T9" fmla="*/ 115 h 191"/>
                <a:gd name="T10" fmla="*/ 37 w 191"/>
                <a:gd name="T11" fmla="*/ 191 h 191"/>
                <a:gd name="T12" fmla="*/ 41 w 191"/>
                <a:gd name="T13" fmla="*/ 191 h 191"/>
                <a:gd name="T14" fmla="*/ 12 w 191"/>
                <a:gd name="T15" fmla="*/ 127 h 191"/>
                <a:gd name="T16" fmla="*/ 96 w 191"/>
                <a:gd name="T17" fmla="*/ 43 h 191"/>
                <a:gd name="T18" fmla="*/ 179 w 191"/>
                <a:gd name="T19" fmla="*/ 127 h 191"/>
                <a:gd name="T20" fmla="*/ 150 w 191"/>
                <a:gd name="T21" fmla="*/ 191 h 191"/>
                <a:gd name="T22" fmla="*/ 154 w 191"/>
                <a:gd name="T23" fmla="*/ 191 h 191"/>
                <a:gd name="T24" fmla="*/ 191 w 191"/>
                <a:gd name="T25" fmla="*/ 115 h 191"/>
                <a:gd name="T26" fmla="*/ 108 w 191"/>
                <a:gd name="T27" fmla="*/ 2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1" h="191">
                  <a:moveTo>
                    <a:pt x="108" y="20"/>
                  </a:moveTo>
                  <a:cubicBezTo>
                    <a:pt x="108" y="0"/>
                    <a:pt x="108" y="0"/>
                    <a:pt x="108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36" y="27"/>
                    <a:pt x="0" y="67"/>
                    <a:pt x="0" y="115"/>
                  </a:cubicBezTo>
                  <a:cubicBezTo>
                    <a:pt x="0" y="146"/>
                    <a:pt x="15" y="173"/>
                    <a:pt x="37" y="191"/>
                  </a:cubicBezTo>
                  <a:cubicBezTo>
                    <a:pt x="41" y="191"/>
                    <a:pt x="41" y="191"/>
                    <a:pt x="41" y="191"/>
                  </a:cubicBezTo>
                  <a:cubicBezTo>
                    <a:pt x="23" y="175"/>
                    <a:pt x="12" y="152"/>
                    <a:pt x="12" y="127"/>
                  </a:cubicBezTo>
                  <a:cubicBezTo>
                    <a:pt x="12" y="81"/>
                    <a:pt x="49" y="43"/>
                    <a:pt x="96" y="43"/>
                  </a:cubicBezTo>
                  <a:cubicBezTo>
                    <a:pt x="142" y="43"/>
                    <a:pt x="179" y="81"/>
                    <a:pt x="179" y="127"/>
                  </a:cubicBezTo>
                  <a:cubicBezTo>
                    <a:pt x="179" y="152"/>
                    <a:pt x="168" y="175"/>
                    <a:pt x="150" y="191"/>
                  </a:cubicBezTo>
                  <a:cubicBezTo>
                    <a:pt x="154" y="191"/>
                    <a:pt x="154" y="191"/>
                    <a:pt x="154" y="191"/>
                  </a:cubicBezTo>
                  <a:cubicBezTo>
                    <a:pt x="177" y="173"/>
                    <a:pt x="191" y="146"/>
                    <a:pt x="191" y="115"/>
                  </a:cubicBezTo>
                  <a:cubicBezTo>
                    <a:pt x="191" y="67"/>
                    <a:pt x="155" y="27"/>
                    <a:pt x="108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" name="Group 41"/>
          <p:cNvGrpSpPr>
            <a:grpSpLocks noChangeAspect="1"/>
          </p:cNvGrpSpPr>
          <p:nvPr/>
        </p:nvGrpSpPr>
        <p:grpSpPr bwMode="auto">
          <a:xfrm>
            <a:off x="7365345" y="797267"/>
            <a:ext cx="2257252" cy="1949953"/>
            <a:chOff x="3208" y="1528"/>
            <a:chExt cx="1263" cy="1264"/>
          </a:xfrm>
        </p:grpSpPr>
        <p:sp>
          <p:nvSpPr>
            <p:cNvPr id="16" name="Oval 42"/>
            <p:cNvSpPr>
              <a:spLocks noChangeArrowheads="1"/>
            </p:cNvSpPr>
            <p:nvPr/>
          </p:nvSpPr>
          <p:spPr bwMode="auto">
            <a:xfrm>
              <a:off x="3770" y="2090"/>
              <a:ext cx="139" cy="139"/>
            </a:xfrm>
            <a:prstGeom prst="ellipse">
              <a:avLst/>
            </a:prstGeom>
            <a:solidFill>
              <a:srgbClr val="4677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43"/>
            <p:cNvSpPr>
              <a:spLocks noEditPoints="1"/>
            </p:cNvSpPr>
            <p:nvPr/>
          </p:nvSpPr>
          <p:spPr bwMode="auto">
            <a:xfrm>
              <a:off x="3565" y="1528"/>
              <a:ext cx="550" cy="1264"/>
            </a:xfrm>
            <a:custGeom>
              <a:avLst/>
              <a:gdLst>
                <a:gd name="T0" fmla="*/ 0 w 233"/>
                <a:gd name="T1" fmla="*/ 268 h 535"/>
                <a:gd name="T2" fmla="*/ 116 w 233"/>
                <a:gd name="T3" fmla="*/ 0 h 535"/>
                <a:gd name="T4" fmla="*/ 116 w 233"/>
                <a:gd name="T5" fmla="*/ 0 h 535"/>
                <a:gd name="T6" fmla="*/ 233 w 233"/>
                <a:gd name="T7" fmla="*/ 268 h 535"/>
                <a:gd name="T8" fmla="*/ 233 w 233"/>
                <a:gd name="T9" fmla="*/ 268 h 535"/>
                <a:gd name="T10" fmla="*/ 116 w 233"/>
                <a:gd name="T11" fmla="*/ 535 h 535"/>
                <a:gd name="T12" fmla="*/ 116 w 233"/>
                <a:gd name="T13" fmla="*/ 535 h 535"/>
                <a:gd name="T14" fmla="*/ 0 w 233"/>
                <a:gd name="T15" fmla="*/ 268 h 535"/>
                <a:gd name="T16" fmla="*/ 194 w 233"/>
                <a:gd name="T17" fmla="*/ 453 h 535"/>
                <a:gd name="T18" fmla="*/ 226 w 233"/>
                <a:gd name="T19" fmla="*/ 268 h 535"/>
                <a:gd name="T20" fmla="*/ 226 w 233"/>
                <a:gd name="T21" fmla="*/ 268 h 535"/>
                <a:gd name="T22" fmla="*/ 194 w 233"/>
                <a:gd name="T23" fmla="*/ 82 h 535"/>
                <a:gd name="T24" fmla="*/ 194 w 233"/>
                <a:gd name="T25" fmla="*/ 82 h 535"/>
                <a:gd name="T26" fmla="*/ 116 w 233"/>
                <a:gd name="T27" fmla="*/ 6 h 535"/>
                <a:gd name="T28" fmla="*/ 116 w 233"/>
                <a:gd name="T29" fmla="*/ 6 h 535"/>
                <a:gd name="T30" fmla="*/ 39 w 233"/>
                <a:gd name="T31" fmla="*/ 82 h 535"/>
                <a:gd name="T32" fmla="*/ 39 w 233"/>
                <a:gd name="T33" fmla="*/ 82 h 535"/>
                <a:gd name="T34" fmla="*/ 6 w 233"/>
                <a:gd name="T35" fmla="*/ 268 h 535"/>
                <a:gd name="T36" fmla="*/ 6 w 233"/>
                <a:gd name="T37" fmla="*/ 268 h 535"/>
                <a:gd name="T38" fmla="*/ 39 w 233"/>
                <a:gd name="T39" fmla="*/ 453 h 535"/>
                <a:gd name="T40" fmla="*/ 39 w 233"/>
                <a:gd name="T41" fmla="*/ 453 h 535"/>
                <a:gd name="T42" fmla="*/ 116 w 233"/>
                <a:gd name="T43" fmla="*/ 529 h 535"/>
                <a:gd name="T44" fmla="*/ 116 w 233"/>
                <a:gd name="T45" fmla="*/ 529 h 535"/>
                <a:gd name="T46" fmla="*/ 194 w 233"/>
                <a:gd name="T47" fmla="*/ 453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3" h="535">
                  <a:moveTo>
                    <a:pt x="0" y="268"/>
                  </a:moveTo>
                  <a:cubicBezTo>
                    <a:pt x="0" y="121"/>
                    <a:pt x="50" y="1"/>
                    <a:pt x="116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83" y="1"/>
                    <a:pt x="232" y="121"/>
                    <a:pt x="233" y="268"/>
                  </a:cubicBezTo>
                  <a:cubicBezTo>
                    <a:pt x="233" y="268"/>
                    <a:pt x="233" y="268"/>
                    <a:pt x="233" y="268"/>
                  </a:cubicBezTo>
                  <a:cubicBezTo>
                    <a:pt x="232" y="414"/>
                    <a:pt x="183" y="534"/>
                    <a:pt x="116" y="535"/>
                  </a:cubicBezTo>
                  <a:cubicBezTo>
                    <a:pt x="116" y="535"/>
                    <a:pt x="116" y="535"/>
                    <a:pt x="116" y="535"/>
                  </a:cubicBezTo>
                  <a:cubicBezTo>
                    <a:pt x="50" y="534"/>
                    <a:pt x="0" y="414"/>
                    <a:pt x="0" y="268"/>
                  </a:cubicBezTo>
                  <a:close/>
                  <a:moveTo>
                    <a:pt x="194" y="453"/>
                  </a:moveTo>
                  <a:cubicBezTo>
                    <a:pt x="214" y="406"/>
                    <a:pt x="226" y="340"/>
                    <a:pt x="226" y="268"/>
                  </a:cubicBezTo>
                  <a:cubicBezTo>
                    <a:pt x="226" y="268"/>
                    <a:pt x="226" y="268"/>
                    <a:pt x="226" y="268"/>
                  </a:cubicBezTo>
                  <a:cubicBezTo>
                    <a:pt x="226" y="195"/>
                    <a:pt x="214" y="129"/>
                    <a:pt x="194" y="82"/>
                  </a:cubicBezTo>
                  <a:cubicBezTo>
                    <a:pt x="194" y="82"/>
                    <a:pt x="194" y="82"/>
                    <a:pt x="194" y="82"/>
                  </a:cubicBezTo>
                  <a:cubicBezTo>
                    <a:pt x="173" y="34"/>
                    <a:pt x="145" y="6"/>
                    <a:pt x="116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87" y="6"/>
                    <a:pt x="59" y="34"/>
                    <a:pt x="39" y="82"/>
                  </a:cubicBezTo>
                  <a:cubicBezTo>
                    <a:pt x="39" y="82"/>
                    <a:pt x="39" y="82"/>
                    <a:pt x="39" y="82"/>
                  </a:cubicBezTo>
                  <a:cubicBezTo>
                    <a:pt x="19" y="129"/>
                    <a:pt x="6" y="195"/>
                    <a:pt x="6" y="268"/>
                  </a:cubicBezTo>
                  <a:cubicBezTo>
                    <a:pt x="6" y="268"/>
                    <a:pt x="6" y="268"/>
                    <a:pt x="6" y="268"/>
                  </a:cubicBezTo>
                  <a:cubicBezTo>
                    <a:pt x="6" y="340"/>
                    <a:pt x="19" y="406"/>
                    <a:pt x="39" y="453"/>
                  </a:cubicBezTo>
                  <a:cubicBezTo>
                    <a:pt x="39" y="453"/>
                    <a:pt x="39" y="453"/>
                    <a:pt x="39" y="453"/>
                  </a:cubicBezTo>
                  <a:cubicBezTo>
                    <a:pt x="59" y="501"/>
                    <a:pt x="87" y="529"/>
                    <a:pt x="116" y="529"/>
                  </a:cubicBezTo>
                  <a:cubicBezTo>
                    <a:pt x="116" y="529"/>
                    <a:pt x="116" y="529"/>
                    <a:pt x="116" y="529"/>
                  </a:cubicBezTo>
                  <a:cubicBezTo>
                    <a:pt x="145" y="529"/>
                    <a:pt x="173" y="501"/>
                    <a:pt x="194" y="453"/>
                  </a:cubicBezTo>
                  <a:close/>
                </a:path>
              </a:pathLst>
            </a:custGeom>
            <a:solidFill>
              <a:srgbClr val="4677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44"/>
            <p:cNvSpPr>
              <a:spLocks/>
            </p:cNvSpPr>
            <p:nvPr/>
          </p:nvSpPr>
          <p:spPr bwMode="auto">
            <a:xfrm>
              <a:off x="3208" y="1884"/>
              <a:ext cx="1263" cy="551"/>
            </a:xfrm>
            <a:custGeom>
              <a:avLst/>
              <a:gdLst>
                <a:gd name="T0" fmla="*/ 0 w 535"/>
                <a:gd name="T1" fmla="*/ 117 h 233"/>
                <a:gd name="T2" fmla="*/ 267 w 535"/>
                <a:gd name="T3" fmla="*/ 0 h 233"/>
                <a:gd name="T4" fmla="*/ 267 w 535"/>
                <a:gd name="T5" fmla="*/ 0 h 233"/>
                <a:gd name="T6" fmla="*/ 267 w 535"/>
                <a:gd name="T7" fmla="*/ 3 h 233"/>
                <a:gd name="T8" fmla="*/ 267 w 535"/>
                <a:gd name="T9" fmla="*/ 7 h 233"/>
                <a:gd name="T10" fmla="*/ 82 w 535"/>
                <a:gd name="T11" fmla="*/ 39 h 233"/>
                <a:gd name="T12" fmla="*/ 82 w 535"/>
                <a:gd name="T13" fmla="*/ 39 h 233"/>
                <a:gd name="T14" fmla="*/ 6 w 535"/>
                <a:gd name="T15" fmla="*/ 117 h 233"/>
                <a:gd name="T16" fmla="*/ 6 w 535"/>
                <a:gd name="T17" fmla="*/ 117 h 233"/>
                <a:gd name="T18" fmla="*/ 82 w 535"/>
                <a:gd name="T19" fmla="*/ 194 h 233"/>
                <a:gd name="T20" fmla="*/ 82 w 535"/>
                <a:gd name="T21" fmla="*/ 194 h 233"/>
                <a:gd name="T22" fmla="*/ 267 w 535"/>
                <a:gd name="T23" fmla="*/ 227 h 233"/>
                <a:gd name="T24" fmla="*/ 267 w 535"/>
                <a:gd name="T25" fmla="*/ 227 h 233"/>
                <a:gd name="T26" fmla="*/ 453 w 535"/>
                <a:gd name="T27" fmla="*/ 194 h 233"/>
                <a:gd name="T28" fmla="*/ 453 w 535"/>
                <a:gd name="T29" fmla="*/ 194 h 233"/>
                <a:gd name="T30" fmla="*/ 529 w 535"/>
                <a:gd name="T31" fmla="*/ 117 h 233"/>
                <a:gd name="T32" fmla="*/ 529 w 535"/>
                <a:gd name="T33" fmla="*/ 117 h 233"/>
                <a:gd name="T34" fmla="*/ 453 w 535"/>
                <a:gd name="T35" fmla="*/ 39 h 233"/>
                <a:gd name="T36" fmla="*/ 453 w 535"/>
                <a:gd name="T37" fmla="*/ 39 h 233"/>
                <a:gd name="T38" fmla="*/ 267 w 535"/>
                <a:gd name="T39" fmla="*/ 7 h 233"/>
                <a:gd name="T40" fmla="*/ 267 w 535"/>
                <a:gd name="T41" fmla="*/ 7 h 233"/>
                <a:gd name="T42" fmla="*/ 267 w 535"/>
                <a:gd name="T43" fmla="*/ 3 h 233"/>
                <a:gd name="T44" fmla="*/ 267 w 535"/>
                <a:gd name="T45" fmla="*/ 0 h 233"/>
                <a:gd name="T46" fmla="*/ 535 w 535"/>
                <a:gd name="T47" fmla="*/ 117 h 233"/>
                <a:gd name="T48" fmla="*/ 535 w 535"/>
                <a:gd name="T49" fmla="*/ 117 h 233"/>
                <a:gd name="T50" fmla="*/ 267 w 535"/>
                <a:gd name="T51" fmla="*/ 233 h 233"/>
                <a:gd name="T52" fmla="*/ 267 w 535"/>
                <a:gd name="T53" fmla="*/ 233 h 233"/>
                <a:gd name="T54" fmla="*/ 0 w 535"/>
                <a:gd name="T55" fmla="*/ 117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35" h="233">
                  <a:moveTo>
                    <a:pt x="0" y="117"/>
                  </a:moveTo>
                  <a:cubicBezTo>
                    <a:pt x="1" y="50"/>
                    <a:pt x="121" y="1"/>
                    <a:pt x="267" y="0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267" y="3"/>
                    <a:pt x="267" y="3"/>
                    <a:pt x="267" y="3"/>
                  </a:cubicBezTo>
                  <a:cubicBezTo>
                    <a:pt x="267" y="7"/>
                    <a:pt x="267" y="7"/>
                    <a:pt x="267" y="7"/>
                  </a:cubicBezTo>
                  <a:cubicBezTo>
                    <a:pt x="195" y="7"/>
                    <a:pt x="129" y="19"/>
                    <a:pt x="82" y="39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34" y="60"/>
                    <a:pt x="6" y="88"/>
                    <a:pt x="6" y="117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6" y="146"/>
                    <a:pt x="34" y="174"/>
                    <a:pt x="82" y="194"/>
                  </a:cubicBezTo>
                  <a:cubicBezTo>
                    <a:pt x="82" y="194"/>
                    <a:pt x="82" y="194"/>
                    <a:pt x="82" y="194"/>
                  </a:cubicBezTo>
                  <a:cubicBezTo>
                    <a:pt x="129" y="214"/>
                    <a:pt x="195" y="227"/>
                    <a:pt x="267" y="227"/>
                  </a:cubicBezTo>
                  <a:cubicBezTo>
                    <a:pt x="267" y="227"/>
                    <a:pt x="267" y="227"/>
                    <a:pt x="267" y="227"/>
                  </a:cubicBezTo>
                  <a:cubicBezTo>
                    <a:pt x="340" y="227"/>
                    <a:pt x="406" y="214"/>
                    <a:pt x="453" y="194"/>
                  </a:cubicBezTo>
                  <a:cubicBezTo>
                    <a:pt x="453" y="194"/>
                    <a:pt x="453" y="194"/>
                    <a:pt x="453" y="194"/>
                  </a:cubicBezTo>
                  <a:cubicBezTo>
                    <a:pt x="501" y="174"/>
                    <a:pt x="529" y="146"/>
                    <a:pt x="529" y="117"/>
                  </a:cubicBezTo>
                  <a:cubicBezTo>
                    <a:pt x="529" y="117"/>
                    <a:pt x="529" y="117"/>
                    <a:pt x="529" y="117"/>
                  </a:cubicBezTo>
                  <a:cubicBezTo>
                    <a:pt x="529" y="88"/>
                    <a:pt x="501" y="60"/>
                    <a:pt x="453" y="39"/>
                  </a:cubicBezTo>
                  <a:cubicBezTo>
                    <a:pt x="453" y="39"/>
                    <a:pt x="453" y="39"/>
                    <a:pt x="453" y="39"/>
                  </a:cubicBezTo>
                  <a:cubicBezTo>
                    <a:pt x="406" y="19"/>
                    <a:pt x="340" y="7"/>
                    <a:pt x="267" y="7"/>
                  </a:cubicBezTo>
                  <a:cubicBezTo>
                    <a:pt x="267" y="7"/>
                    <a:pt x="267" y="7"/>
                    <a:pt x="267" y="7"/>
                  </a:cubicBezTo>
                  <a:cubicBezTo>
                    <a:pt x="267" y="3"/>
                    <a:pt x="267" y="3"/>
                    <a:pt x="267" y="3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414" y="1"/>
                    <a:pt x="534" y="50"/>
                    <a:pt x="535" y="117"/>
                  </a:cubicBezTo>
                  <a:cubicBezTo>
                    <a:pt x="535" y="117"/>
                    <a:pt x="535" y="117"/>
                    <a:pt x="535" y="117"/>
                  </a:cubicBezTo>
                  <a:cubicBezTo>
                    <a:pt x="534" y="183"/>
                    <a:pt x="414" y="233"/>
                    <a:pt x="267" y="233"/>
                  </a:cubicBezTo>
                  <a:cubicBezTo>
                    <a:pt x="267" y="233"/>
                    <a:pt x="267" y="233"/>
                    <a:pt x="267" y="233"/>
                  </a:cubicBezTo>
                  <a:cubicBezTo>
                    <a:pt x="121" y="233"/>
                    <a:pt x="1" y="183"/>
                    <a:pt x="0" y="117"/>
                  </a:cubicBezTo>
                  <a:close/>
                </a:path>
              </a:pathLst>
            </a:custGeom>
            <a:solidFill>
              <a:srgbClr val="4677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45"/>
            <p:cNvSpPr>
              <a:spLocks noEditPoints="1"/>
            </p:cNvSpPr>
            <p:nvPr/>
          </p:nvSpPr>
          <p:spPr bwMode="auto">
            <a:xfrm>
              <a:off x="3352" y="1672"/>
              <a:ext cx="975" cy="976"/>
            </a:xfrm>
            <a:custGeom>
              <a:avLst/>
              <a:gdLst>
                <a:gd name="T0" fmla="*/ 17 w 413"/>
                <a:gd name="T1" fmla="*/ 396 h 413"/>
                <a:gd name="T2" fmla="*/ 0 w 413"/>
                <a:gd name="T3" fmla="*/ 347 h 413"/>
                <a:gd name="T4" fmla="*/ 0 w 413"/>
                <a:gd name="T5" fmla="*/ 347 h 413"/>
                <a:gd name="T6" fmla="*/ 124 w 413"/>
                <a:gd name="T7" fmla="*/ 124 h 413"/>
                <a:gd name="T8" fmla="*/ 124 w 413"/>
                <a:gd name="T9" fmla="*/ 124 h 413"/>
                <a:gd name="T10" fmla="*/ 347 w 413"/>
                <a:gd name="T11" fmla="*/ 0 h 413"/>
                <a:gd name="T12" fmla="*/ 347 w 413"/>
                <a:gd name="T13" fmla="*/ 0 h 413"/>
                <a:gd name="T14" fmla="*/ 395 w 413"/>
                <a:gd name="T15" fmla="*/ 18 h 413"/>
                <a:gd name="T16" fmla="*/ 395 w 413"/>
                <a:gd name="T17" fmla="*/ 18 h 413"/>
                <a:gd name="T18" fmla="*/ 413 w 413"/>
                <a:gd name="T19" fmla="*/ 66 h 413"/>
                <a:gd name="T20" fmla="*/ 413 w 413"/>
                <a:gd name="T21" fmla="*/ 66 h 413"/>
                <a:gd name="T22" fmla="*/ 289 w 413"/>
                <a:gd name="T23" fmla="*/ 289 h 413"/>
                <a:gd name="T24" fmla="*/ 289 w 413"/>
                <a:gd name="T25" fmla="*/ 289 h 413"/>
                <a:gd name="T26" fmla="*/ 66 w 413"/>
                <a:gd name="T27" fmla="*/ 413 h 413"/>
                <a:gd name="T28" fmla="*/ 66 w 413"/>
                <a:gd name="T29" fmla="*/ 413 h 413"/>
                <a:gd name="T30" fmla="*/ 17 w 413"/>
                <a:gd name="T31" fmla="*/ 396 h 413"/>
                <a:gd name="T32" fmla="*/ 6 w 413"/>
                <a:gd name="T33" fmla="*/ 347 h 413"/>
                <a:gd name="T34" fmla="*/ 22 w 413"/>
                <a:gd name="T35" fmla="*/ 391 h 413"/>
                <a:gd name="T36" fmla="*/ 22 w 413"/>
                <a:gd name="T37" fmla="*/ 391 h 413"/>
                <a:gd name="T38" fmla="*/ 66 w 413"/>
                <a:gd name="T39" fmla="*/ 407 h 413"/>
                <a:gd name="T40" fmla="*/ 66 w 413"/>
                <a:gd name="T41" fmla="*/ 407 h 413"/>
                <a:gd name="T42" fmla="*/ 284 w 413"/>
                <a:gd name="T43" fmla="*/ 284 h 413"/>
                <a:gd name="T44" fmla="*/ 284 w 413"/>
                <a:gd name="T45" fmla="*/ 284 h 413"/>
                <a:gd name="T46" fmla="*/ 407 w 413"/>
                <a:gd name="T47" fmla="*/ 66 h 413"/>
                <a:gd name="T48" fmla="*/ 407 w 413"/>
                <a:gd name="T49" fmla="*/ 66 h 413"/>
                <a:gd name="T50" fmla="*/ 391 w 413"/>
                <a:gd name="T51" fmla="*/ 22 h 413"/>
                <a:gd name="T52" fmla="*/ 391 w 413"/>
                <a:gd name="T53" fmla="*/ 22 h 413"/>
                <a:gd name="T54" fmla="*/ 347 w 413"/>
                <a:gd name="T55" fmla="*/ 6 h 413"/>
                <a:gd name="T56" fmla="*/ 347 w 413"/>
                <a:gd name="T57" fmla="*/ 6 h 413"/>
                <a:gd name="T58" fmla="*/ 129 w 413"/>
                <a:gd name="T59" fmla="*/ 129 h 413"/>
                <a:gd name="T60" fmla="*/ 129 w 413"/>
                <a:gd name="T61" fmla="*/ 129 h 413"/>
                <a:gd name="T62" fmla="*/ 6 w 413"/>
                <a:gd name="T63" fmla="*/ 347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3" h="413">
                  <a:moveTo>
                    <a:pt x="17" y="396"/>
                  </a:moveTo>
                  <a:cubicBezTo>
                    <a:pt x="5" y="384"/>
                    <a:pt x="0" y="367"/>
                    <a:pt x="0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288"/>
                    <a:pt x="47" y="202"/>
                    <a:pt x="124" y="124"/>
                  </a:cubicBezTo>
                  <a:cubicBezTo>
                    <a:pt x="124" y="124"/>
                    <a:pt x="124" y="124"/>
                    <a:pt x="124" y="124"/>
                  </a:cubicBezTo>
                  <a:cubicBezTo>
                    <a:pt x="202" y="47"/>
                    <a:pt x="288" y="0"/>
                    <a:pt x="347" y="0"/>
                  </a:cubicBezTo>
                  <a:cubicBezTo>
                    <a:pt x="347" y="0"/>
                    <a:pt x="347" y="0"/>
                    <a:pt x="347" y="0"/>
                  </a:cubicBezTo>
                  <a:cubicBezTo>
                    <a:pt x="367" y="0"/>
                    <a:pt x="384" y="6"/>
                    <a:pt x="395" y="18"/>
                  </a:cubicBezTo>
                  <a:cubicBezTo>
                    <a:pt x="395" y="18"/>
                    <a:pt x="395" y="18"/>
                    <a:pt x="395" y="18"/>
                  </a:cubicBezTo>
                  <a:cubicBezTo>
                    <a:pt x="407" y="29"/>
                    <a:pt x="413" y="46"/>
                    <a:pt x="413" y="66"/>
                  </a:cubicBezTo>
                  <a:cubicBezTo>
                    <a:pt x="413" y="66"/>
                    <a:pt x="413" y="66"/>
                    <a:pt x="413" y="66"/>
                  </a:cubicBezTo>
                  <a:cubicBezTo>
                    <a:pt x="413" y="125"/>
                    <a:pt x="366" y="211"/>
                    <a:pt x="289" y="289"/>
                  </a:cubicBezTo>
                  <a:cubicBezTo>
                    <a:pt x="289" y="289"/>
                    <a:pt x="289" y="289"/>
                    <a:pt x="289" y="289"/>
                  </a:cubicBezTo>
                  <a:cubicBezTo>
                    <a:pt x="211" y="366"/>
                    <a:pt x="125" y="413"/>
                    <a:pt x="66" y="413"/>
                  </a:cubicBezTo>
                  <a:cubicBezTo>
                    <a:pt x="66" y="413"/>
                    <a:pt x="66" y="413"/>
                    <a:pt x="66" y="413"/>
                  </a:cubicBezTo>
                  <a:cubicBezTo>
                    <a:pt x="46" y="413"/>
                    <a:pt x="29" y="408"/>
                    <a:pt x="17" y="396"/>
                  </a:cubicBezTo>
                  <a:close/>
                  <a:moveTo>
                    <a:pt x="6" y="347"/>
                  </a:moveTo>
                  <a:cubicBezTo>
                    <a:pt x="6" y="366"/>
                    <a:pt x="11" y="381"/>
                    <a:pt x="22" y="391"/>
                  </a:cubicBezTo>
                  <a:cubicBezTo>
                    <a:pt x="22" y="391"/>
                    <a:pt x="22" y="391"/>
                    <a:pt x="22" y="391"/>
                  </a:cubicBezTo>
                  <a:cubicBezTo>
                    <a:pt x="32" y="402"/>
                    <a:pt x="47" y="407"/>
                    <a:pt x="66" y="407"/>
                  </a:cubicBezTo>
                  <a:cubicBezTo>
                    <a:pt x="66" y="407"/>
                    <a:pt x="66" y="407"/>
                    <a:pt x="66" y="407"/>
                  </a:cubicBezTo>
                  <a:cubicBezTo>
                    <a:pt x="121" y="407"/>
                    <a:pt x="208" y="361"/>
                    <a:pt x="284" y="284"/>
                  </a:cubicBezTo>
                  <a:cubicBezTo>
                    <a:pt x="284" y="284"/>
                    <a:pt x="284" y="284"/>
                    <a:pt x="284" y="284"/>
                  </a:cubicBezTo>
                  <a:cubicBezTo>
                    <a:pt x="361" y="208"/>
                    <a:pt x="407" y="122"/>
                    <a:pt x="407" y="66"/>
                  </a:cubicBezTo>
                  <a:cubicBezTo>
                    <a:pt x="407" y="66"/>
                    <a:pt x="407" y="66"/>
                    <a:pt x="407" y="66"/>
                  </a:cubicBezTo>
                  <a:cubicBezTo>
                    <a:pt x="407" y="47"/>
                    <a:pt x="402" y="32"/>
                    <a:pt x="391" y="22"/>
                  </a:cubicBezTo>
                  <a:cubicBezTo>
                    <a:pt x="391" y="22"/>
                    <a:pt x="391" y="22"/>
                    <a:pt x="391" y="22"/>
                  </a:cubicBezTo>
                  <a:cubicBezTo>
                    <a:pt x="381" y="11"/>
                    <a:pt x="366" y="6"/>
                    <a:pt x="347" y="6"/>
                  </a:cubicBezTo>
                  <a:cubicBezTo>
                    <a:pt x="347" y="6"/>
                    <a:pt x="347" y="6"/>
                    <a:pt x="347" y="6"/>
                  </a:cubicBezTo>
                  <a:cubicBezTo>
                    <a:pt x="291" y="6"/>
                    <a:pt x="205" y="52"/>
                    <a:pt x="129" y="129"/>
                  </a:cubicBezTo>
                  <a:cubicBezTo>
                    <a:pt x="129" y="129"/>
                    <a:pt x="129" y="129"/>
                    <a:pt x="129" y="129"/>
                  </a:cubicBezTo>
                  <a:cubicBezTo>
                    <a:pt x="52" y="205"/>
                    <a:pt x="6" y="292"/>
                    <a:pt x="6" y="347"/>
                  </a:cubicBezTo>
                  <a:close/>
                </a:path>
              </a:pathLst>
            </a:custGeom>
            <a:solidFill>
              <a:srgbClr val="4677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46"/>
            <p:cNvSpPr>
              <a:spLocks/>
            </p:cNvSpPr>
            <p:nvPr/>
          </p:nvSpPr>
          <p:spPr bwMode="auto">
            <a:xfrm>
              <a:off x="3352" y="1672"/>
              <a:ext cx="975" cy="976"/>
            </a:xfrm>
            <a:custGeom>
              <a:avLst/>
              <a:gdLst>
                <a:gd name="T0" fmla="*/ 124 w 413"/>
                <a:gd name="T1" fmla="*/ 289 h 413"/>
                <a:gd name="T2" fmla="*/ 126 w 413"/>
                <a:gd name="T3" fmla="*/ 287 h 413"/>
                <a:gd name="T4" fmla="*/ 128 w 413"/>
                <a:gd name="T5" fmla="*/ 284 h 413"/>
                <a:gd name="T6" fmla="*/ 347 w 413"/>
                <a:gd name="T7" fmla="*/ 407 h 413"/>
                <a:gd name="T8" fmla="*/ 347 w 413"/>
                <a:gd name="T9" fmla="*/ 407 h 413"/>
                <a:gd name="T10" fmla="*/ 391 w 413"/>
                <a:gd name="T11" fmla="*/ 391 h 413"/>
                <a:gd name="T12" fmla="*/ 391 w 413"/>
                <a:gd name="T13" fmla="*/ 391 h 413"/>
                <a:gd name="T14" fmla="*/ 407 w 413"/>
                <a:gd name="T15" fmla="*/ 347 h 413"/>
                <a:gd name="T16" fmla="*/ 407 w 413"/>
                <a:gd name="T17" fmla="*/ 347 h 413"/>
                <a:gd name="T18" fmla="*/ 284 w 413"/>
                <a:gd name="T19" fmla="*/ 129 h 413"/>
                <a:gd name="T20" fmla="*/ 284 w 413"/>
                <a:gd name="T21" fmla="*/ 129 h 413"/>
                <a:gd name="T22" fmla="*/ 66 w 413"/>
                <a:gd name="T23" fmla="*/ 6 h 413"/>
                <a:gd name="T24" fmla="*/ 66 w 413"/>
                <a:gd name="T25" fmla="*/ 6 h 413"/>
                <a:gd name="T26" fmla="*/ 22 w 413"/>
                <a:gd name="T27" fmla="*/ 22 h 413"/>
                <a:gd name="T28" fmla="*/ 22 w 413"/>
                <a:gd name="T29" fmla="*/ 22 h 413"/>
                <a:gd name="T30" fmla="*/ 6 w 413"/>
                <a:gd name="T31" fmla="*/ 66 h 413"/>
                <a:gd name="T32" fmla="*/ 6 w 413"/>
                <a:gd name="T33" fmla="*/ 66 h 413"/>
                <a:gd name="T34" fmla="*/ 128 w 413"/>
                <a:gd name="T35" fmla="*/ 284 h 413"/>
                <a:gd name="T36" fmla="*/ 128 w 413"/>
                <a:gd name="T37" fmla="*/ 284 h 413"/>
                <a:gd name="T38" fmla="*/ 126 w 413"/>
                <a:gd name="T39" fmla="*/ 287 h 413"/>
                <a:gd name="T40" fmla="*/ 124 w 413"/>
                <a:gd name="T41" fmla="*/ 289 h 413"/>
                <a:gd name="T42" fmla="*/ 0 w 413"/>
                <a:gd name="T43" fmla="*/ 66 h 413"/>
                <a:gd name="T44" fmla="*/ 0 w 413"/>
                <a:gd name="T45" fmla="*/ 66 h 413"/>
                <a:gd name="T46" fmla="*/ 17 w 413"/>
                <a:gd name="T47" fmla="*/ 18 h 413"/>
                <a:gd name="T48" fmla="*/ 17 w 413"/>
                <a:gd name="T49" fmla="*/ 18 h 413"/>
                <a:gd name="T50" fmla="*/ 66 w 413"/>
                <a:gd name="T51" fmla="*/ 0 h 413"/>
                <a:gd name="T52" fmla="*/ 66 w 413"/>
                <a:gd name="T53" fmla="*/ 0 h 413"/>
                <a:gd name="T54" fmla="*/ 289 w 413"/>
                <a:gd name="T55" fmla="*/ 124 h 413"/>
                <a:gd name="T56" fmla="*/ 289 w 413"/>
                <a:gd name="T57" fmla="*/ 124 h 413"/>
                <a:gd name="T58" fmla="*/ 413 w 413"/>
                <a:gd name="T59" fmla="*/ 347 h 413"/>
                <a:gd name="T60" fmla="*/ 413 w 413"/>
                <a:gd name="T61" fmla="*/ 347 h 413"/>
                <a:gd name="T62" fmla="*/ 395 w 413"/>
                <a:gd name="T63" fmla="*/ 396 h 413"/>
                <a:gd name="T64" fmla="*/ 395 w 413"/>
                <a:gd name="T65" fmla="*/ 396 h 413"/>
                <a:gd name="T66" fmla="*/ 347 w 413"/>
                <a:gd name="T67" fmla="*/ 413 h 413"/>
                <a:gd name="T68" fmla="*/ 347 w 413"/>
                <a:gd name="T69" fmla="*/ 413 h 413"/>
                <a:gd name="T70" fmla="*/ 124 w 413"/>
                <a:gd name="T71" fmla="*/ 289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13" h="413">
                  <a:moveTo>
                    <a:pt x="124" y="289"/>
                  </a:moveTo>
                  <a:cubicBezTo>
                    <a:pt x="126" y="287"/>
                    <a:pt x="126" y="287"/>
                    <a:pt x="126" y="287"/>
                  </a:cubicBezTo>
                  <a:cubicBezTo>
                    <a:pt x="128" y="284"/>
                    <a:pt x="128" y="284"/>
                    <a:pt x="128" y="284"/>
                  </a:cubicBezTo>
                  <a:cubicBezTo>
                    <a:pt x="205" y="361"/>
                    <a:pt x="291" y="407"/>
                    <a:pt x="347" y="407"/>
                  </a:cubicBezTo>
                  <a:cubicBezTo>
                    <a:pt x="347" y="407"/>
                    <a:pt x="347" y="407"/>
                    <a:pt x="347" y="407"/>
                  </a:cubicBezTo>
                  <a:cubicBezTo>
                    <a:pt x="366" y="407"/>
                    <a:pt x="381" y="402"/>
                    <a:pt x="391" y="391"/>
                  </a:cubicBezTo>
                  <a:cubicBezTo>
                    <a:pt x="391" y="391"/>
                    <a:pt x="391" y="391"/>
                    <a:pt x="391" y="391"/>
                  </a:cubicBezTo>
                  <a:cubicBezTo>
                    <a:pt x="402" y="381"/>
                    <a:pt x="407" y="366"/>
                    <a:pt x="407" y="347"/>
                  </a:cubicBezTo>
                  <a:cubicBezTo>
                    <a:pt x="407" y="347"/>
                    <a:pt x="407" y="347"/>
                    <a:pt x="407" y="347"/>
                  </a:cubicBezTo>
                  <a:cubicBezTo>
                    <a:pt x="407" y="291"/>
                    <a:pt x="361" y="205"/>
                    <a:pt x="284" y="129"/>
                  </a:cubicBezTo>
                  <a:cubicBezTo>
                    <a:pt x="284" y="129"/>
                    <a:pt x="284" y="129"/>
                    <a:pt x="284" y="129"/>
                  </a:cubicBezTo>
                  <a:cubicBezTo>
                    <a:pt x="208" y="52"/>
                    <a:pt x="121" y="6"/>
                    <a:pt x="66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47" y="6"/>
                    <a:pt x="32" y="11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1" y="32"/>
                    <a:pt x="6" y="47"/>
                    <a:pt x="6" y="66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6" y="122"/>
                    <a:pt x="52" y="208"/>
                    <a:pt x="128" y="284"/>
                  </a:cubicBezTo>
                  <a:cubicBezTo>
                    <a:pt x="128" y="284"/>
                    <a:pt x="128" y="284"/>
                    <a:pt x="128" y="284"/>
                  </a:cubicBezTo>
                  <a:cubicBezTo>
                    <a:pt x="126" y="287"/>
                    <a:pt x="126" y="287"/>
                    <a:pt x="126" y="287"/>
                  </a:cubicBezTo>
                  <a:cubicBezTo>
                    <a:pt x="124" y="289"/>
                    <a:pt x="124" y="289"/>
                    <a:pt x="124" y="289"/>
                  </a:cubicBezTo>
                  <a:cubicBezTo>
                    <a:pt x="47" y="211"/>
                    <a:pt x="0" y="125"/>
                    <a:pt x="0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46"/>
                    <a:pt x="5" y="29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29" y="6"/>
                    <a:pt x="46" y="0"/>
                    <a:pt x="6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125" y="0"/>
                    <a:pt x="211" y="47"/>
                    <a:pt x="289" y="124"/>
                  </a:cubicBezTo>
                  <a:cubicBezTo>
                    <a:pt x="289" y="124"/>
                    <a:pt x="289" y="124"/>
                    <a:pt x="289" y="124"/>
                  </a:cubicBezTo>
                  <a:cubicBezTo>
                    <a:pt x="366" y="202"/>
                    <a:pt x="413" y="288"/>
                    <a:pt x="413" y="347"/>
                  </a:cubicBezTo>
                  <a:cubicBezTo>
                    <a:pt x="413" y="347"/>
                    <a:pt x="413" y="347"/>
                    <a:pt x="413" y="347"/>
                  </a:cubicBezTo>
                  <a:cubicBezTo>
                    <a:pt x="413" y="367"/>
                    <a:pt x="407" y="384"/>
                    <a:pt x="395" y="396"/>
                  </a:cubicBezTo>
                  <a:cubicBezTo>
                    <a:pt x="395" y="396"/>
                    <a:pt x="395" y="396"/>
                    <a:pt x="395" y="396"/>
                  </a:cubicBezTo>
                  <a:cubicBezTo>
                    <a:pt x="384" y="408"/>
                    <a:pt x="367" y="413"/>
                    <a:pt x="347" y="413"/>
                  </a:cubicBezTo>
                  <a:cubicBezTo>
                    <a:pt x="347" y="413"/>
                    <a:pt x="347" y="413"/>
                    <a:pt x="347" y="413"/>
                  </a:cubicBezTo>
                  <a:cubicBezTo>
                    <a:pt x="288" y="413"/>
                    <a:pt x="202" y="366"/>
                    <a:pt x="124" y="289"/>
                  </a:cubicBezTo>
                  <a:close/>
                </a:path>
              </a:pathLst>
            </a:custGeom>
            <a:solidFill>
              <a:srgbClr val="4677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5" name="Gruppieren 189"/>
          <p:cNvGrpSpPr/>
          <p:nvPr/>
        </p:nvGrpSpPr>
        <p:grpSpPr>
          <a:xfrm>
            <a:off x="5543550" y="3186194"/>
            <a:ext cx="6200775" cy="3305517"/>
            <a:chOff x="4361977" y="162035"/>
            <a:chExt cx="6894634" cy="3989624"/>
          </a:xfrm>
        </p:grpSpPr>
        <p:sp>
          <p:nvSpPr>
            <p:cNvPr id="26" name="Rad 80"/>
            <p:cNvSpPr/>
            <p:nvPr/>
          </p:nvSpPr>
          <p:spPr bwMode="auto">
            <a:xfrm>
              <a:off x="10291891" y="2791892"/>
              <a:ext cx="964720" cy="964720"/>
            </a:xfrm>
            <a:prstGeom prst="donut">
              <a:avLst>
                <a:gd name="adj" fmla="val 832"/>
              </a:avLst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sz="4000" dirty="0"/>
            </a:p>
          </p:txBody>
        </p:sp>
        <p:grpSp>
          <p:nvGrpSpPr>
            <p:cNvPr id="27" name="Gruppieren 188"/>
            <p:cNvGrpSpPr/>
            <p:nvPr/>
          </p:nvGrpSpPr>
          <p:grpSpPr>
            <a:xfrm>
              <a:off x="4361977" y="162035"/>
              <a:ext cx="6813316" cy="3989624"/>
              <a:chOff x="4361977" y="162035"/>
              <a:chExt cx="6813316" cy="3989624"/>
            </a:xfrm>
          </p:grpSpPr>
          <p:sp>
            <p:nvSpPr>
              <p:cNvPr id="28" name="Ellipse 83"/>
              <p:cNvSpPr/>
              <p:nvPr/>
            </p:nvSpPr>
            <p:spPr bwMode="auto">
              <a:xfrm>
                <a:off x="6023504" y="390911"/>
                <a:ext cx="524278" cy="524278"/>
              </a:xfrm>
              <a:prstGeom prst="ellipse">
                <a:avLst/>
              </a:prstGeom>
              <a:solidFill>
                <a:schemeClr val="accent1"/>
              </a:solidFill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algn="ctr"/>
                <a:r>
                  <a:rPr lang="de-DE" sz="1100" dirty="0" smtClean="0">
                    <a:solidFill>
                      <a:schemeClr val="bg1"/>
                    </a:solidFill>
                  </a:rPr>
                  <a:t>Schoole</a:t>
                </a:r>
                <a:endParaRPr lang="de-DE" sz="110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29" name="Gerade Verbindung mit Pfeil 93"/>
              <p:cNvCxnSpPr>
                <a:stCxn id="34" idx="3"/>
              </p:cNvCxnSpPr>
              <p:nvPr/>
            </p:nvCxnSpPr>
            <p:spPr>
              <a:xfrm flipH="1">
                <a:off x="6337353" y="2632132"/>
                <a:ext cx="600906" cy="642707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mit Pfeil 97"/>
              <p:cNvCxnSpPr/>
              <p:nvPr/>
            </p:nvCxnSpPr>
            <p:spPr>
              <a:xfrm flipH="1" flipV="1">
                <a:off x="7750996" y="2749991"/>
                <a:ext cx="545467" cy="665635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mit Pfeil 101"/>
              <p:cNvCxnSpPr/>
              <p:nvPr/>
            </p:nvCxnSpPr>
            <p:spPr>
              <a:xfrm flipV="1">
                <a:off x="5978489" y="904556"/>
                <a:ext cx="244039" cy="922586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2" name="Gruppieren 187"/>
              <p:cNvGrpSpPr/>
              <p:nvPr/>
            </p:nvGrpSpPr>
            <p:grpSpPr>
              <a:xfrm>
                <a:off x="4361977" y="162035"/>
                <a:ext cx="6813316" cy="3989624"/>
                <a:chOff x="4361977" y="162035"/>
                <a:chExt cx="6813316" cy="3989624"/>
              </a:xfrm>
            </p:grpSpPr>
            <p:sp>
              <p:nvSpPr>
                <p:cNvPr id="33" name="Ellipse 67"/>
                <p:cNvSpPr/>
                <p:nvPr/>
              </p:nvSpPr>
              <p:spPr bwMode="auto">
                <a:xfrm>
                  <a:off x="4425408" y="1858435"/>
                  <a:ext cx="606884" cy="606884"/>
                </a:xfrm>
                <a:prstGeom prst="ellipse">
                  <a:avLst/>
                </a:prstGeom>
                <a:solidFill>
                  <a:schemeClr val="accent1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lIns="0" tIns="0" rIns="0" bIns="0" rtlCol="0" anchor="ctr"/>
                <a:lstStyle/>
                <a:p>
                  <a:pPr algn="ctr"/>
                  <a:r>
                    <a:rPr lang="de-DE" sz="1200" dirty="0" smtClean="0">
                      <a:solidFill>
                        <a:schemeClr val="bg1"/>
                      </a:solidFill>
                    </a:rPr>
                    <a:t>Books</a:t>
                  </a:r>
                  <a:endParaRPr lang="de-DE" sz="12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4" name="Ellipse 69"/>
                <p:cNvSpPr/>
                <p:nvPr/>
              </p:nvSpPr>
              <p:spPr bwMode="auto">
                <a:xfrm>
                  <a:off x="6743473" y="1496835"/>
                  <a:ext cx="1330083" cy="1330083"/>
                </a:xfrm>
                <a:prstGeom prst="ellipse">
                  <a:avLst/>
                </a:prstGeom>
                <a:solidFill>
                  <a:schemeClr val="accent1"/>
                </a:solidFill>
                <a:ln w="41275">
                  <a:solidFill>
                    <a:schemeClr val="accent1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 sz="3200" b="1" dirty="0">
                    <a:solidFill>
                      <a:schemeClr val="bg1"/>
                    </a:solidFill>
                    <a:latin typeface="Segoe Script" panose="020B0504020000000003" pitchFamily="34" charset="0"/>
                  </a:endParaRPr>
                </a:p>
              </p:txBody>
            </p:sp>
            <p:grpSp>
              <p:nvGrpSpPr>
                <p:cNvPr id="35" name="Gruppieren 170"/>
                <p:cNvGrpSpPr/>
                <p:nvPr/>
              </p:nvGrpSpPr>
              <p:grpSpPr>
                <a:xfrm>
                  <a:off x="5649849" y="3123024"/>
                  <a:ext cx="1028635" cy="1028635"/>
                  <a:chOff x="5506654" y="3227947"/>
                  <a:chExt cx="1028635" cy="1028635"/>
                </a:xfrm>
              </p:grpSpPr>
              <p:sp>
                <p:nvSpPr>
                  <p:cNvPr id="60" name="Ellipse 72"/>
                  <p:cNvSpPr/>
                  <p:nvPr/>
                </p:nvSpPr>
                <p:spPr bwMode="auto">
                  <a:xfrm>
                    <a:off x="5616972" y="3338265"/>
                    <a:ext cx="807999" cy="80799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lIns="0" tIns="0" rIns="0" bIns="0" rtlCol="0" anchor="ctr"/>
                  <a:lstStyle/>
                  <a:p>
                    <a:pPr algn="ctr"/>
                    <a:endParaRPr lang="de-DE" sz="400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61" name="Rad 73"/>
                  <p:cNvSpPr/>
                  <p:nvPr/>
                </p:nvSpPr>
                <p:spPr bwMode="auto">
                  <a:xfrm>
                    <a:off x="5560259" y="3281552"/>
                    <a:ext cx="921424" cy="921424"/>
                  </a:xfrm>
                  <a:prstGeom prst="donut">
                    <a:avLst>
                      <a:gd name="adj" fmla="val 832"/>
                    </a:avLst>
                  </a:prstGeom>
                  <a:solidFill>
                    <a:schemeClr val="accent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algn="ctr"/>
                    <a:endParaRPr lang="de-DE" sz="4000" dirty="0"/>
                  </a:p>
                </p:txBody>
              </p:sp>
              <p:sp>
                <p:nvSpPr>
                  <p:cNvPr id="62" name="Rad 74"/>
                  <p:cNvSpPr/>
                  <p:nvPr/>
                </p:nvSpPr>
                <p:spPr bwMode="auto">
                  <a:xfrm>
                    <a:off x="5506654" y="3227947"/>
                    <a:ext cx="1028635" cy="1028635"/>
                  </a:xfrm>
                  <a:prstGeom prst="donut">
                    <a:avLst>
                      <a:gd name="adj" fmla="val 832"/>
                    </a:avLst>
                  </a:prstGeom>
                  <a:solidFill>
                    <a:schemeClr val="accent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algn="ctr"/>
                    <a:endParaRPr lang="de-DE" sz="4000" dirty="0"/>
                  </a:p>
                </p:txBody>
              </p:sp>
            </p:grpSp>
            <p:sp>
              <p:nvSpPr>
                <p:cNvPr id="36" name="Rad 75"/>
                <p:cNvSpPr/>
                <p:nvPr/>
              </p:nvSpPr>
              <p:spPr bwMode="auto">
                <a:xfrm>
                  <a:off x="4361977" y="1796925"/>
                  <a:ext cx="729899" cy="729899"/>
                </a:xfrm>
                <a:prstGeom prst="donut">
                  <a:avLst>
                    <a:gd name="adj" fmla="val 832"/>
                  </a:avLst>
                </a:prstGeom>
                <a:solidFill>
                  <a:schemeClr val="accent1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 sz="4000" dirty="0"/>
                </a:p>
              </p:txBody>
            </p:sp>
            <p:sp>
              <p:nvSpPr>
                <p:cNvPr id="37" name="Ellipse 77"/>
                <p:cNvSpPr/>
                <p:nvPr/>
              </p:nvSpPr>
              <p:spPr bwMode="auto">
                <a:xfrm>
                  <a:off x="8204412" y="3323575"/>
                  <a:ext cx="606884" cy="606884"/>
                </a:xfrm>
                <a:prstGeom prst="ellipse">
                  <a:avLst/>
                </a:prstGeom>
                <a:solidFill>
                  <a:schemeClr val="accent1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lIns="0" tIns="0" rIns="0" bIns="0" rtlCol="0" anchor="ctr"/>
                <a:lstStyle/>
                <a:p>
                  <a:pPr algn="ctr"/>
                  <a:r>
                    <a:rPr lang="de-DE" sz="1400" dirty="0" smtClean="0">
                      <a:solidFill>
                        <a:schemeClr val="bg1"/>
                      </a:solidFill>
                    </a:rPr>
                    <a:t>Lifeskill</a:t>
                  </a:r>
                  <a:endParaRPr lang="de-DE" sz="14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8" name="Rad 78"/>
                <p:cNvSpPr/>
                <p:nvPr/>
              </p:nvSpPr>
              <p:spPr bwMode="auto">
                <a:xfrm>
                  <a:off x="8140981" y="3262065"/>
                  <a:ext cx="729899" cy="729899"/>
                </a:xfrm>
                <a:prstGeom prst="donut">
                  <a:avLst>
                    <a:gd name="adj" fmla="val 832"/>
                  </a:avLst>
                </a:prstGeom>
                <a:solidFill>
                  <a:schemeClr val="accent1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 sz="4000" dirty="0"/>
                </a:p>
              </p:txBody>
            </p:sp>
            <p:sp>
              <p:nvSpPr>
                <p:cNvPr id="39" name="Ellipse 79"/>
                <p:cNvSpPr/>
                <p:nvPr/>
              </p:nvSpPr>
              <p:spPr bwMode="auto">
                <a:xfrm>
                  <a:off x="10373164" y="2873774"/>
                  <a:ext cx="802129" cy="802129"/>
                </a:xfrm>
                <a:prstGeom prst="ellipse">
                  <a:avLst/>
                </a:prstGeom>
                <a:solidFill>
                  <a:schemeClr val="accent1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lIns="0" tIns="0" rIns="0" bIns="0" rtlCol="0" anchor="ctr"/>
                <a:lstStyle/>
                <a:p>
                  <a:pPr algn="ctr"/>
                  <a:endParaRPr lang="de-DE" sz="32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0" name="Ellipse 81"/>
                <p:cNvSpPr/>
                <p:nvPr/>
              </p:nvSpPr>
              <p:spPr bwMode="auto">
                <a:xfrm>
                  <a:off x="8982304" y="162035"/>
                  <a:ext cx="767845" cy="791785"/>
                </a:xfrm>
                <a:prstGeom prst="ellipse">
                  <a:avLst/>
                </a:prstGeom>
                <a:solidFill>
                  <a:schemeClr val="accent1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lIns="0" tIns="0" rIns="0" bIns="0" rtlCol="0" anchor="ctr"/>
                <a:lstStyle/>
                <a:p>
                  <a:pPr algn="ctr"/>
                  <a:r>
                    <a:rPr lang="de-DE" sz="1400" dirty="0" smtClean="0">
                      <a:solidFill>
                        <a:schemeClr val="bg1"/>
                      </a:solidFill>
                    </a:rPr>
                    <a:t>Books</a:t>
                  </a:r>
                  <a:endParaRPr lang="de-DE" sz="14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1" name="Rad 82"/>
                <p:cNvSpPr/>
                <p:nvPr/>
              </p:nvSpPr>
              <p:spPr bwMode="auto">
                <a:xfrm>
                  <a:off x="8918875" y="285426"/>
                  <a:ext cx="729899" cy="729899"/>
                </a:xfrm>
                <a:prstGeom prst="donut">
                  <a:avLst>
                    <a:gd name="adj" fmla="val 832"/>
                  </a:avLst>
                </a:prstGeom>
                <a:solidFill>
                  <a:schemeClr val="accent1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 sz="4000" dirty="0"/>
                </a:p>
              </p:txBody>
            </p:sp>
            <p:cxnSp>
              <p:nvCxnSpPr>
                <p:cNvPr id="42" name="Gerade Verbindung mit Pfeil 3"/>
                <p:cNvCxnSpPr>
                  <a:stCxn id="33" idx="6"/>
                  <a:endCxn id="50" idx="2"/>
                </p:cNvCxnSpPr>
                <p:nvPr/>
              </p:nvCxnSpPr>
              <p:spPr>
                <a:xfrm flipV="1">
                  <a:off x="5032292" y="2161236"/>
                  <a:ext cx="464402" cy="641"/>
                </a:xfrm>
                <a:prstGeom prst="straightConnector1">
                  <a:avLst/>
                </a:prstGeom>
                <a:ln w="15875"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Gerade Verbindung mit Pfeil 84"/>
                <p:cNvCxnSpPr/>
                <p:nvPr/>
              </p:nvCxnSpPr>
              <p:spPr>
                <a:xfrm flipV="1">
                  <a:off x="6283908" y="2161877"/>
                  <a:ext cx="464402" cy="641"/>
                </a:xfrm>
                <a:prstGeom prst="straightConnector1">
                  <a:avLst/>
                </a:prstGeom>
                <a:ln w="15875"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Gerade Verbindung mit Pfeil 85"/>
                <p:cNvCxnSpPr>
                  <a:endCxn id="53" idx="2"/>
                </p:cNvCxnSpPr>
                <p:nvPr/>
              </p:nvCxnSpPr>
              <p:spPr>
                <a:xfrm>
                  <a:off x="8073556" y="2162520"/>
                  <a:ext cx="868596" cy="2101"/>
                </a:xfrm>
                <a:prstGeom prst="straightConnector1">
                  <a:avLst/>
                </a:prstGeom>
                <a:ln w="15875"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Gerade Verbindung mit Pfeil 86"/>
                <p:cNvCxnSpPr>
                  <a:stCxn id="33" idx="5"/>
                  <a:endCxn id="60" idx="1"/>
                </p:cNvCxnSpPr>
                <p:nvPr/>
              </p:nvCxnSpPr>
              <p:spPr>
                <a:xfrm>
                  <a:off x="4943416" y="2376443"/>
                  <a:ext cx="935080" cy="975228"/>
                </a:xfrm>
                <a:prstGeom prst="straightConnector1">
                  <a:avLst/>
                </a:prstGeom>
                <a:ln>
                  <a:prstDash val="dash"/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Gerade Verbindung mit Pfeil 90"/>
                <p:cNvCxnSpPr/>
                <p:nvPr/>
              </p:nvCxnSpPr>
              <p:spPr>
                <a:xfrm flipV="1">
                  <a:off x="6387628" y="2788567"/>
                  <a:ext cx="727547" cy="798107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Gerade Verbindung mit Pfeil 106"/>
                <p:cNvCxnSpPr>
                  <a:stCxn id="28" idx="6"/>
                </p:cNvCxnSpPr>
                <p:nvPr/>
              </p:nvCxnSpPr>
              <p:spPr>
                <a:xfrm>
                  <a:off x="6547782" y="653050"/>
                  <a:ext cx="2434524" cy="0"/>
                </a:xfrm>
                <a:prstGeom prst="straightConnector1">
                  <a:avLst/>
                </a:prstGeom>
                <a:ln>
                  <a:prstDash val="dash"/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Gerade Verbindung mit Pfeil 109"/>
                <p:cNvCxnSpPr>
                  <a:stCxn id="54" idx="0"/>
                </p:cNvCxnSpPr>
                <p:nvPr/>
              </p:nvCxnSpPr>
              <p:spPr>
                <a:xfrm flipH="1" flipV="1">
                  <a:off x="9360784" y="937691"/>
                  <a:ext cx="28659" cy="880976"/>
                </a:xfrm>
                <a:prstGeom prst="straightConnector1">
                  <a:avLst/>
                </a:prstGeom>
                <a:ln>
                  <a:prstDash val="dash"/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Gerade Verbindung mit Pfeil 113"/>
                <p:cNvCxnSpPr>
                  <a:stCxn id="37" idx="6"/>
                </p:cNvCxnSpPr>
                <p:nvPr/>
              </p:nvCxnSpPr>
              <p:spPr>
                <a:xfrm flipV="1">
                  <a:off x="8811296" y="3415626"/>
                  <a:ext cx="1503455" cy="211391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0" name="Ellipse 68"/>
                <p:cNvSpPr/>
                <p:nvPr/>
              </p:nvSpPr>
              <p:spPr bwMode="auto">
                <a:xfrm>
                  <a:off x="5496694" y="1757236"/>
                  <a:ext cx="807999" cy="807999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r>
                    <a:rPr lang="de-DE" sz="2800" b="1" dirty="0">
                      <a:solidFill>
                        <a:schemeClr val="bg1"/>
                      </a:solidFill>
                    </a:rPr>
                    <a:t>A</a:t>
                  </a:r>
                </a:p>
              </p:txBody>
            </p:sp>
            <p:grpSp>
              <p:nvGrpSpPr>
                <p:cNvPr id="51" name="Group 1233"/>
                <p:cNvGrpSpPr>
                  <a:grpSpLocks/>
                </p:cNvGrpSpPr>
                <p:nvPr/>
              </p:nvGrpSpPr>
              <p:grpSpPr bwMode="auto">
                <a:xfrm>
                  <a:off x="7084078" y="1804064"/>
                  <a:ext cx="663714" cy="708259"/>
                  <a:chOff x="4569" y="3430"/>
                  <a:chExt cx="298" cy="318"/>
                </a:xfrm>
              </p:grpSpPr>
              <p:sp>
                <p:nvSpPr>
                  <p:cNvPr id="56" name="Freeform 593" descr="© INSCALE GmbH, 21.06.2010"/>
                  <p:cNvSpPr>
                    <a:spLocks/>
                  </p:cNvSpPr>
                  <p:nvPr/>
                </p:nvSpPr>
                <p:spPr bwMode="gray">
                  <a:xfrm>
                    <a:off x="4569" y="3430"/>
                    <a:ext cx="204" cy="203"/>
                  </a:xfrm>
                  <a:custGeom>
                    <a:avLst/>
                    <a:gdLst>
                      <a:gd name="T0" fmla="*/ 2251 w 2251"/>
                      <a:gd name="T1" fmla="*/ 1283 h 2250"/>
                      <a:gd name="T2" fmla="*/ 2251 w 2251"/>
                      <a:gd name="T3" fmla="*/ 967 h 2250"/>
                      <a:gd name="T4" fmla="*/ 2006 w 2251"/>
                      <a:gd name="T5" fmla="*/ 967 h 2250"/>
                      <a:gd name="T6" fmla="*/ 1967 w 2251"/>
                      <a:gd name="T7" fmla="*/ 821 h 2250"/>
                      <a:gd name="T8" fmla="*/ 2179 w 2251"/>
                      <a:gd name="T9" fmla="*/ 699 h 2250"/>
                      <a:gd name="T10" fmla="*/ 2021 w 2251"/>
                      <a:gd name="T11" fmla="*/ 426 h 2250"/>
                      <a:gd name="T12" fmla="*/ 1809 w 2251"/>
                      <a:gd name="T13" fmla="*/ 548 h 2250"/>
                      <a:gd name="T14" fmla="*/ 1703 w 2251"/>
                      <a:gd name="T15" fmla="*/ 441 h 2250"/>
                      <a:gd name="T16" fmla="*/ 1825 w 2251"/>
                      <a:gd name="T17" fmla="*/ 229 h 2250"/>
                      <a:gd name="T18" fmla="*/ 1551 w 2251"/>
                      <a:gd name="T19" fmla="*/ 71 h 2250"/>
                      <a:gd name="T20" fmla="*/ 1429 w 2251"/>
                      <a:gd name="T21" fmla="*/ 283 h 2250"/>
                      <a:gd name="T22" fmla="*/ 1283 w 2251"/>
                      <a:gd name="T23" fmla="*/ 244 h 2250"/>
                      <a:gd name="T24" fmla="*/ 1283 w 2251"/>
                      <a:gd name="T25" fmla="*/ 0 h 2250"/>
                      <a:gd name="T26" fmla="*/ 967 w 2251"/>
                      <a:gd name="T27" fmla="*/ 0 h 2250"/>
                      <a:gd name="T28" fmla="*/ 967 w 2251"/>
                      <a:gd name="T29" fmla="*/ 244 h 2250"/>
                      <a:gd name="T30" fmla="*/ 822 w 2251"/>
                      <a:gd name="T31" fmla="*/ 283 h 2250"/>
                      <a:gd name="T32" fmla="*/ 700 w 2251"/>
                      <a:gd name="T33" fmla="*/ 71 h 2250"/>
                      <a:gd name="T34" fmla="*/ 426 w 2251"/>
                      <a:gd name="T35" fmla="*/ 229 h 2250"/>
                      <a:gd name="T36" fmla="*/ 548 w 2251"/>
                      <a:gd name="T37" fmla="*/ 441 h 2250"/>
                      <a:gd name="T38" fmla="*/ 442 w 2251"/>
                      <a:gd name="T39" fmla="*/ 548 h 2250"/>
                      <a:gd name="T40" fmla="*/ 230 w 2251"/>
                      <a:gd name="T41" fmla="*/ 426 h 2250"/>
                      <a:gd name="T42" fmla="*/ 72 w 2251"/>
                      <a:gd name="T43" fmla="*/ 699 h 2250"/>
                      <a:gd name="T44" fmla="*/ 284 w 2251"/>
                      <a:gd name="T45" fmla="*/ 821 h 2250"/>
                      <a:gd name="T46" fmla="*/ 245 w 2251"/>
                      <a:gd name="T47" fmla="*/ 967 h 2250"/>
                      <a:gd name="T48" fmla="*/ 0 w 2251"/>
                      <a:gd name="T49" fmla="*/ 967 h 2250"/>
                      <a:gd name="T50" fmla="*/ 0 w 2251"/>
                      <a:gd name="T51" fmla="*/ 1283 h 2250"/>
                      <a:gd name="T52" fmla="*/ 245 w 2251"/>
                      <a:gd name="T53" fmla="*/ 1283 h 2250"/>
                      <a:gd name="T54" fmla="*/ 284 w 2251"/>
                      <a:gd name="T55" fmla="*/ 1428 h 2250"/>
                      <a:gd name="T56" fmla="*/ 72 w 2251"/>
                      <a:gd name="T57" fmla="*/ 1551 h 2250"/>
                      <a:gd name="T58" fmla="*/ 230 w 2251"/>
                      <a:gd name="T59" fmla="*/ 1824 h 2250"/>
                      <a:gd name="T60" fmla="*/ 442 w 2251"/>
                      <a:gd name="T61" fmla="*/ 1702 h 2250"/>
                      <a:gd name="T62" fmla="*/ 548 w 2251"/>
                      <a:gd name="T63" fmla="*/ 1809 h 2250"/>
                      <a:gd name="T64" fmla="*/ 426 w 2251"/>
                      <a:gd name="T65" fmla="*/ 2020 h 2250"/>
                      <a:gd name="T66" fmla="*/ 700 w 2251"/>
                      <a:gd name="T67" fmla="*/ 2178 h 2250"/>
                      <a:gd name="T68" fmla="*/ 822 w 2251"/>
                      <a:gd name="T69" fmla="*/ 1966 h 2250"/>
                      <a:gd name="T70" fmla="*/ 967 w 2251"/>
                      <a:gd name="T71" fmla="*/ 2005 h 2250"/>
                      <a:gd name="T72" fmla="*/ 967 w 2251"/>
                      <a:gd name="T73" fmla="*/ 2250 h 2250"/>
                      <a:gd name="T74" fmla="*/ 1283 w 2251"/>
                      <a:gd name="T75" fmla="*/ 2250 h 2250"/>
                      <a:gd name="T76" fmla="*/ 1283 w 2251"/>
                      <a:gd name="T77" fmla="*/ 2005 h 2250"/>
                      <a:gd name="T78" fmla="*/ 1429 w 2251"/>
                      <a:gd name="T79" fmla="*/ 1966 h 2250"/>
                      <a:gd name="T80" fmla="*/ 1551 w 2251"/>
                      <a:gd name="T81" fmla="*/ 2178 h 2250"/>
                      <a:gd name="T82" fmla="*/ 1825 w 2251"/>
                      <a:gd name="T83" fmla="*/ 2020 h 2250"/>
                      <a:gd name="T84" fmla="*/ 1703 w 2251"/>
                      <a:gd name="T85" fmla="*/ 1809 h 2250"/>
                      <a:gd name="T86" fmla="*/ 1809 w 2251"/>
                      <a:gd name="T87" fmla="*/ 1702 h 2250"/>
                      <a:gd name="T88" fmla="*/ 2021 w 2251"/>
                      <a:gd name="T89" fmla="*/ 1824 h 2250"/>
                      <a:gd name="T90" fmla="*/ 2179 w 2251"/>
                      <a:gd name="T91" fmla="*/ 1551 h 2250"/>
                      <a:gd name="T92" fmla="*/ 1967 w 2251"/>
                      <a:gd name="T93" fmla="*/ 1428 h 2250"/>
                      <a:gd name="T94" fmla="*/ 2006 w 2251"/>
                      <a:gd name="T95" fmla="*/ 1283 h 2250"/>
                      <a:gd name="T96" fmla="*/ 2251 w 2251"/>
                      <a:gd name="T97" fmla="*/ 1283 h 22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2251" h="2250">
                        <a:moveTo>
                          <a:pt x="2251" y="1283"/>
                        </a:moveTo>
                        <a:cubicBezTo>
                          <a:pt x="2251" y="967"/>
                          <a:pt x="2251" y="967"/>
                          <a:pt x="2251" y="967"/>
                        </a:cubicBezTo>
                        <a:cubicBezTo>
                          <a:pt x="2006" y="967"/>
                          <a:pt x="2006" y="967"/>
                          <a:pt x="2006" y="967"/>
                        </a:cubicBezTo>
                        <a:cubicBezTo>
                          <a:pt x="1997" y="917"/>
                          <a:pt x="1984" y="868"/>
                          <a:pt x="1967" y="821"/>
                        </a:cubicBezTo>
                        <a:cubicBezTo>
                          <a:pt x="2179" y="699"/>
                          <a:pt x="2179" y="699"/>
                          <a:pt x="2179" y="699"/>
                        </a:cubicBezTo>
                        <a:cubicBezTo>
                          <a:pt x="2021" y="426"/>
                          <a:pt x="2021" y="426"/>
                          <a:pt x="2021" y="426"/>
                        </a:cubicBezTo>
                        <a:cubicBezTo>
                          <a:pt x="1809" y="548"/>
                          <a:pt x="1809" y="548"/>
                          <a:pt x="1809" y="548"/>
                        </a:cubicBezTo>
                        <a:cubicBezTo>
                          <a:pt x="1777" y="509"/>
                          <a:pt x="1741" y="473"/>
                          <a:pt x="1703" y="441"/>
                        </a:cubicBezTo>
                        <a:cubicBezTo>
                          <a:pt x="1825" y="229"/>
                          <a:pt x="1825" y="229"/>
                          <a:pt x="1825" y="229"/>
                        </a:cubicBezTo>
                        <a:cubicBezTo>
                          <a:pt x="1551" y="71"/>
                          <a:pt x="1551" y="71"/>
                          <a:pt x="1551" y="71"/>
                        </a:cubicBezTo>
                        <a:cubicBezTo>
                          <a:pt x="1429" y="283"/>
                          <a:pt x="1429" y="283"/>
                          <a:pt x="1429" y="283"/>
                        </a:cubicBezTo>
                        <a:cubicBezTo>
                          <a:pt x="1382" y="266"/>
                          <a:pt x="1334" y="253"/>
                          <a:pt x="1283" y="244"/>
                        </a:cubicBezTo>
                        <a:cubicBezTo>
                          <a:pt x="1283" y="0"/>
                          <a:pt x="1283" y="0"/>
                          <a:pt x="1283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967" y="244"/>
                          <a:pt x="967" y="244"/>
                          <a:pt x="967" y="244"/>
                        </a:cubicBezTo>
                        <a:cubicBezTo>
                          <a:pt x="917" y="253"/>
                          <a:pt x="869" y="267"/>
                          <a:pt x="822" y="283"/>
                        </a:cubicBezTo>
                        <a:cubicBezTo>
                          <a:pt x="700" y="71"/>
                          <a:pt x="700" y="71"/>
                          <a:pt x="700" y="71"/>
                        </a:cubicBezTo>
                        <a:cubicBezTo>
                          <a:pt x="426" y="229"/>
                          <a:pt x="426" y="229"/>
                          <a:pt x="426" y="229"/>
                        </a:cubicBezTo>
                        <a:cubicBezTo>
                          <a:pt x="548" y="441"/>
                          <a:pt x="548" y="441"/>
                          <a:pt x="548" y="441"/>
                        </a:cubicBezTo>
                        <a:cubicBezTo>
                          <a:pt x="510" y="473"/>
                          <a:pt x="474" y="509"/>
                          <a:pt x="442" y="548"/>
                        </a:cubicBezTo>
                        <a:cubicBezTo>
                          <a:pt x="230" y="426"/>
                          <a:pt x="230" y="426"/>
                          <a:pt x="230" y="426"/>
                        </a:cubicBezTo>
                        <a:cubicBezTo>
                          <a:pt x="72" y="699"/>
                          <a:pt x="72" y="699"/>
                          <a:pt x="72" y="699"/>
                        </a:cubicBezTo>
                        <a:cubicBezTo>
                          <a:pt x="284" y="821"/>
                          <a:pt x="284" y="821"/>
                          <a:pt x="284" y="821"/>
                        </a:cubicBezTo>
                        <a:cubicBezTo>
                          <a:pt x="267" y="868"/>
                          <a:pt x="254" y="917"/>
                          <a:pt x="245" y="967"/>
                        </a:cubicBezTo>
                        <a:cubicBezTo>
                          <a:pt x="0" y="967"/>
                          <a:pt x="0" y="967"/>
                          <a:pt x="0" y="967"/>
                        </a:cubicBezTo>
                        <a:cubicBezTo>
                          <a:pt x="0" y="1283"/>
                          <a:pt x="0" y="1283"/>
                          <a:pt x="0" y="1283"/>
                        </a:cubicBezTo>
                        <a:cubicBezTo>
                          <a:pt x="245" y="1283"/>
                          <a:pt x="245" y="1283"/>
                          <a:pt x="245" y="1283"/>
                        </a:cubicBezTo>
                        <a:cubicBezTo>
                          <a:pt x="254" y="1333"/>
                          <a:pt x="267" y="1381"/>
                          <a:pt x="284" y="1428"/>
                        </a:cubicBezTo>
                        <a:cubicBezTo>
                          <a:pt x="72" y="1551"/>
                          <a:pt x="72" y="1551"/>
                          <a:pt x="72" y="1551"/>
                        </a:cubicBezTo>
                        <a:cubicBezTo>
                          <a:pt x="230" y="1824"/>
                          <a:pt x="230" y="1824"/>
                          <a:pt x="230" y="1824"/>
                        </a:cubicBezTo>
                        <a:cubicBezTo>
                          <a:pt x="442" y="1702"/>
                          <a:pt x="442" y="1702"/>
                          <a:pt x="442" y="1702"/>
                        </a:cubicBezTo>
                        <a:cubicBezTo>
                          <a:pt x="474" y="1741"/>
                          <a:pt x="510" y="1776"/>
                          <a:pt x="548" y="1809"/>
                        </a:cubicBezTo>
                        <a:cubicBezTo>
                          <a:pt x="426" y="2020"/>
                          <a:pt x="426" y="2020"/>
                          <a:pt x="426" y="2020"/>
                        </a:cubicBezTo>
                        <a:cubicBezTo>
                          <a:pt x="700" y="2178"/>
                          <a:pt x="700" y="2178"/>
                          <a:pt x="700" y="2178"/>
                        </a:cubicBezTo>
                        <a:cubicBezTo>
                          <a:pt x="822" y="1966"/>
                          <a:pt x="822" y="1966"/>
                          <a:pt x="822" y="1966"/>
                        </a:cubicBezTo>
                        <a:cubicBezTo>
                          <a:pt x="869" y="1983"/>
                          <a:pt x="917" y="1996"/>
                          <a:pt x="967" y="2005"/>
                        </a:cubicBezTo>
                        <a:cubicBezTo>
                          <a:pt x="967" y="2250"/>
                          <a:pt x="967" y="2250"/>
                          <a:pt x="967" y="2250"/>
                        </a:cubicBezTo>
                        <a:cubicBezTo>
                          <a:pt x="1283" y="2250"/>
                          <a:pt x="1283" y="2250"/>
                          <a:pt x="1283" y="2250"/>
                        </a:cubicBezTo>
                        <a:cubicBezTo>
                          <a:pt x="1283" y="2005"/>
                          <a:pt x="1283" y="2005"/>
                          <a:pt x="1283" y="2005"/>
                        </a:cubicBezTo>
                        <a:cubicBezTo>
                          <a:pt x="1334" y="1996"/>
                          <a:pt x="1382" y="1983"/>
                          <a:pt x="1429" y="1966"/>
                        </a:cubicBezTo>
                        <a:cubicBezTo>
                          <a:pt x="1551" y="2178"/>
                          <a:pt x="1551" y="2178"/>
                          <a:pt x="1551" y="2178"/>
                        </a:cubicBezTo>
                        <a:cubicBezTo>
                          <a:pt x="1825" y="2020"/>
                          <a:pt x="1825" y="2020"/>
                          <a:pt x="1825" y="2020"/>
                        </a:cubicBezTo>
                        <a:cubicBezTo>
                          <a:pt x="1703" y="1809"/>
                          <a:pt x="1703" y="1809"/>
                          <a:pt x="1703" y="1809"/>
                        </a:cubicBezTo>
                        <a:cubicBezTo>
                          <a:pt x="1741" y="1776"/>
                          <a:pt x="1777" y="1741"/>
                          <a:pt x="1809" y="1702"/>
                        </a:cubicBezTo>
                        <a:cubicBezTo>
                          <a:pt x="2021" y="1824"/>
                          <a:pt x="2021" y="1824"/>
                          <a:pt x="2021" y="1824"/>
                        </a:cubicBezTo>
                        <a:cubicBezTo>
                          <a:pt x="2179" y="1551"/>
                          <a:pt x="2179" y="1551"/>
                          <a:pt x="2179" y="1551"/>
                        </a:cubicBezTo>
                        <a:cubicBezTo>
                          <a:pt x="1967" y="1428"/>
                          <a:pt x="1967" y="1428"/>
                          <a:pt x="1967" y="1428"/>
                        </a:cubicBezTo>
                        <a:cubicBezTo>
                          <a:pt x="1984" y="1381"/>
                          <a:pt x="1997" y="1333"/>
                          <a:pt x="2006" y="1283"/>
                        </a:cubicBezTo>
                        <a:lnTo>
                          <a:pt x="2251" y="128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de-DE" sz="4000" dirty="0"/>
                  </a:p>
                </p:txBody>
              </p:sp>
              <p:sp>
                <p:nvSpPr>
                  <p:cNvPr id="57" name="Oval 594" descr="© INSCALE GmbH, 21.06.2010"/>
                  <p:cNvSpPr>
                    <a:spLocks noChangeArrowheads="1"/>
                  </p:cNvSpPr>
                  <p:nvPr/>
                </p:nvSpPr>
                <p:spPr bwMode="gray">
                  <a:xfrm>
                    <a:off x="4645" y="3506"/>
                    <a:ext cx="51" cy="50"/>
                  </a:xfrm>
                  <a:prstGeom prst="ellipse">
                    <a:avLst/>
                  </a:prstGeom>
                  <a:solidFill>
                    <a:schemeClr val="accent1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de-DE" sz="4000" dirty="0"/>
                  </a:p>
                </p:txBody>
              </p:sp>
              <p:sp>
                <p:nvSpPr>
                  <p:cNvPr id="58" name="Freeform 595" descr="© INSCALE GmbH, 21.06.2010"/>
                  <p:cNvSpPr>
                    <a:spLocks/>
                  </p:cNvSpPr>
                  <p:nvPr/>
                </p:nvSpPr>
                <p:spPr bwMode="gray">
                  <a:xfrm>
                    <a:off x="4712" y="3593"/>
                    <a:ext cx="155" cy="155"/>
                  </a:xfrm>
                  <a:custGeom>
                    <a:avLst/>
                    <a:gdLst>
                      <a:gd name="T0" fmla="*/ 1721 w 1721"/>
                      <a:gd name="T1" fmla="*/ 979 h 1721"/>
                      <a:gd name="T2" fmla="*/ 1721 w 1721"/>
                      <a:gd name="T3" fmla="*/ 742 h 1721"/>
                      <a:gd name="T4" fmla="*/ 1535 w 1721"/>
                      <a:gd name="T5" fmla="*/ 742 h 1721"/>
                      <a:gd name="T6" fmla="*/ 1504 w 1721"/>
                      <a:gd name="T7" fmla="*/ 626 h 1721"/>
                      <a:gd name="T8" fmla="*/ 1665 w 1721"/>
                      <a:gd name="T9" fmla="*/ 533 h 1721"/>
                      <a:gd name="T10" fmla="*/ 1547 w 1721"/>
                      <a:gd name="T11" fmla="*/ 328 h 1721"/>
                      <a:gd name="T12" fmla="*/ 1385 w 1721"/>
                      <a:gd name="T13" fmla="*/ 421 h 1721"/>
                      <a:gd name="T14" fmla="*/ 1301 w 1721"/>
                      <a:gd name="T15" fmla="*/ 336 h 1721"/>
                      <a:gd name="T16" fmla="*/ 1394 w 1721"/>
                      <a:gd name="T17" fmla="*/ 174 h 1721"/>
                      <a:gd name="T18" fmla="*/ 1188 w 1721"/>
                      <a:gd name="T19" fmla="*/ 56 h 1721"/>
                      <a:gd name="T20" fmla="*/ 1095 w 1721"/>
                      <a:gd name="T21" fmla="*/ 218 h 1721"/>
                      <a:gd name="T22" fmla="*/ 979 w 1721"/>
                      <a:gd name="T23" fmla="*/ 187 h 1721"/>
                      <a:gd name="T24" fmla="*/ 979 w 1721"/>
                      <a:gd name="T25" fmla="*/ 0 h 1721"/>
                      <a:gd name="T26" fmla="*/ 742 w 1721"/>
                      <a:gd name="T27" fmla="*/ 0 h 1721"/>
                      <a:gd name="T28" fmla="*/ 742 w 1721"/>
                      <a:gd name="T29" fmla="*/ 187 h 1721"/>
                      <a:gd name="T30" fmla="*/ 627 w 1721"/>
                      <a:gd name="T31" fmla="*/ 218 h 1721"/>
                      <a:gd name="T32" fmla="*/ 533 w 1721"/>
                      <a:gd name="T33" fmla="*/ 56 h 1721"/>
                      <a:gd name="T34" fmla="*/ 328 w 1721"/>
                      <a:gd name="T35" fmla="*/ 174 h 1721"/>
                      <a:gd name="T36" fmla="*/ 421 w 1721"/>
                      <a:gd name="T37" fmla="*/ 336 h 1721"/>
                      <a:gd name="T38" fmla="*/ 336 w 1721"/>
                      <a:gd name="T39" fmla="*/ 421 h 1721"/>
                      <a:gd name="T40" fmla="*/ 175 w 1721"/>
                      <a:gd name="T41" fmla="*/ 328 h 1721"/>
                      <a:gd name="T42" fmla="*/ 57 w 1721"/>
                      <a:gd name="T43" fmla="*/ 533 h 1721"/>
                      <a:gd name="T44" fmla="*/ 218 w 1721"/>
                      <a:gd name="T45" fmla="*/ 626 h 1721"/>
                      <a:gd name="T46" fmla="*/ 187 w 1721"/>
                      <a:gd name="T47" fmla="*/ 742 h 1721"/>
                      <a:gd name="T48" fmla="*/ 0 w 1721"/>
                      <a:gd name="T49" fmla="*/ 742 h 1721"/>
                      <a:gd name="T50" fmla="*/ 0 w 1721"/>
                      <a:gd name="T51" fmla="*/ 979 h 1721"/>
                      <a:gd name="T52" fmla="*/ 187 w 1721"/>
                      <a:gd name="T53" fmla="*/ 979 h 1721"/>
                      <a:gd name="T54" fmla="*/ 218 w 1721"/>
                      <a:gd name="T55" fmla="*/ 1095 h 1721"/>
                      <a:gd name="T56" fmla="*/ 57 w 1721"/>
                      <a:gd name="T57" fmla="*/ 1188 h 1721"/>
                      <a:gd name="T58" fmla="*/ 175 w 1721"/>
                      <a:gd name="T59" fmla="*/ 1393 h 1721"/>
                      <a:gd name="T60" fmla="*/ 336 w 1721"/>
                      <a:gd name="T61" fmla="*/ 1300 h 1721"/>
                      <a:gd name="T62" fmla="*/ 421 w 1721"/>
                      <a:gd name="T63" fmla="*/ 1385 h 1721"/>
                      <a:gd name="T64" fmla="*/ 328 w 1721"/>
                      <a:gd name="T65" fmla="*/ 1546 h 1721"/>
                      <a:gd name="T66" fmla="*/ 533 w 1721"/>
                      <a:gd name="T67" fmla="*/ 1665 h 1721"/>
                      <a:gd name="T68" fmla="*/ 627 w 1721"/>
                      <a:gd name="T69" fmla="*/ 1503 h 1721"/>
                      <a:gd name="T70" fmla="*/ 742 w 1721"/>
                      <a:gd name="T71" fmla="*/ 1534 h 1721"/>
                      <a:gd name="T72" fmla="*/ 742 w 1721"/>
                      <a:gd name="T73" fmla="*/ 1721 h 1721"/>
                      <a:gd name="T74" fmla="*/ 979 w 1721"/>
                      <a:gd name="T75" fmla="*/ 1721 h 1721"/>
                      <a:gd name="T76" fmla="*/ 979 w 1721"/>
                      <a:gd name="T77" fmla="*/ 1534 h 1721"/>
                      <a:gd name="T78" fmla="*/ 1095 w 1721"/>
                      <a:gd name="T79" fmla="*/ 1503 h 1721"/>
                      <a:gd name="T80" fmla="*/ 1188 w 1721"/>
                      <a:gd name="T81" fmla="*/ 1665 h 1721"/>
                      <a:gd name="T82" fmla="*/ 1394 w 1721"/>
                      <a:gd name="T83" fmla="*/ 1546 h 1721"/>
                      <a:gd name="T84" fmla="*/ 1300 w 1721"/>
                      <a:gd name="T85" fmla="*/ 1385 h 1721"/>
                      <a:gd name="T86" fmla="*/ 1385 w 1721"/>
                      <a:gd name="T87" fmla="*/ 1300 h 1721"/>
                      <a:gd name="T88" fmla="*/ 1547 w 1721"/>
                      <a:gd name="T89" fmla="*/ 1393 h 1721"/>
                      <a:gd name="T90" fmla="*/ 1665 w 1721"/>
                      <a:gd name="T91" fmla="*/ 1188 h 1721"/>
                      <a:gd name="T92" fmla="*/ 1504 w 1721"/>
                      <a:gd name="T93" fmla="*/ 1095 h 1721"/>
                      <a:gd name="T94" fmla="*/ 1535 w 1721"/>
                      <a:gd name="T95" fmla="*/ 979 h 1721"/>
                      <a:gd name="T96" fmla="*/ 1721 w 1721"/>
                      <a:gd name="T97" fmla="*/ 979 h 17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1721" h="1721">
                        <a:moveTo>
                          <a:pt x="1721" y="979"/>
                        </a:moveTo>
                        <a:cubicBezTo>
                          <a:pt x="1721" y="742"/>
                          <a:pt x="1721" y="742"/>
                          <a:pt x="1721" y="742"/>
                        </a:cubicBezTo>
                        <a:cubicBezTo>
                          <a:pt x="1535" y="742"/>
                          <a:pt x="1535" y="742"/>
                          <a:pt x="1535" y="742"/>
                        </a:cubicBezTo>
                        <a:cubicBezTo>
                          <a:pt x="1528" y="702"/>
                          <a:pt x="1517" y="663"/>
                          <a:pt x="1504" y="626"/>
                        </a:cubicBezTo>
                        <a:cubicBezTo>
                          <a:pt x="1665" y="533"/>
                          <a:pt x="1665" y="533"/>
                          <a:pt x="1665" y="533"/>
                        </a:cubicBezTo>
                        <a:cubicBezTo>
                          <a:pt x="1547" y="328"/>
                          <a:pt x="1547" y="328"/>
                          <a:pt x="1547" y="328"/>
                        </a:cubicBezTo>
                        <a:cubicBezTo>
                          <a:pt x="1385" y="421"/>
                          <a:pt x="1385" y="421"/>
                          <a:pt x="1385" y="421"/>
                        </a:cubicBezTo>
                        <a:cubicBezTo>
                          <a:pt x="1360" y="390"/>
                          <a:pt x="1331" y="361"/>
                          <a:pt x="1301" y="336"/>
                        </a:cubicBezTo>
                        <a:cubicBezTo>
                          <a:pt x="1394" y="174"/>
                          <a:pt x="1394" y="174"/>
                          <a:pt x="1394" y="174"/>
                        </a:cubicBezTo>
                        <a:cubicBezTo>
                          <a:pt x="1188" y="56"/>
                          <a:pt x="1188" y="56"/>
                          <a:pt x="1188" y="56"/>
                        </a:cubicBezTo>
                        <a:cubicBezTo>
                          <a:pt x="1095" y="218"/>
                          <a:pt x="1095" y="218"/>
                          <a:pt x="1095" y="218"/>
                        </a:cubicBezTo>
                        <a:cubicBezTo>
                          <a:pt x="1058" y="204"/>
                          <a:pt x="1019" y="194"/>
                          <a:pt x="979" y="187"/>
                        </a:cubicBezTo>
                        <a:cubicBezTo>
                          <a:pt x="979" y="0"/>
                          <a:pt x="979" y="0"/>
                          <a:pt x="979" y="0"/>
                        </a:cubicBezTo>
                        <a:cubicBezTo>
                          <a:pt x="742" y="0"/>
                          <a:pt x="742" y="0"/>
                          <a:pt x="742" y="0"/>
                        </a:cubicBezTo>
                        <a:cubicBezTo>
                          <a:pt x="742" y="187"/>
                          <a:pt x="742" y="187"/>
                          <a:pt x="742" y="187"/>
                        </a:cubicBezTo>
                        <a:cubicBezTo>
                          <a:pt x="702" y="194"/>
                          <a:pt x="664" y="204"/>
                          <a:pt x="627" y="218"/>
                        </a:cubicBezTo>
                        <a:cubicBezTo>
                          <a:pt x="533" y="56"/>
                          <a:pt x="533" y="56"/>
                          <a:pt x="533" y="56"/>
                        </a:cubicBezTo>
                        <a:cubicBezTo>
                          <a:pt x="328" y="174"/>
                          <a:pt x="328" y="174"/>
                          <a:pt x="328" y="174"/>
                        </a:cubicBezTo>
                        <a:cubicBezTo>
                          <a:pt x="421" y="336"/>
                          <a:pt x="421" y="336"/>
                          <a:pt x="421" y="336"/>
                        </a:cubicBezTo>
                        <a:cubicBezTo>
                          <a:pt x="391" y="361"/>
                          <a:pt x="362" y="390"/>
                          <a:pt x="336" y="421"/>
                        </a:cubicBezTo>
                        <a:cubicBezTo>
                          <a:pt x="175" y="328"/>
                          <a:pt x="175" y="328"/>
                          <a:pt x="175" y="328"/>
                        </a:cubicBezTo>
                        <a:cubicBezTo>
                          <a:pt x="57" y="533"/>
                          <a:pt x="57" y="533"/>
                          <a:pt x="57" y="533"/>
                        </a:cubicBezTo>
                        <a:cubicBezTo>
                          <a:pt x="218" y="626"/>
                          <a:pt x="218" y="626"/>
                          <a:pt x="218" y="626"/>
                        </a:cubicBezTo>
                        <a:cubicBezTo>
                          <a:pt x="205" y="663"/>
                          <a:pt x="194" y="702"/>
                          <a:pt x="187" y="742"/>
                        </a:cubicBezTo>
                        <a:cubicBezTo>
                          <a:pt x="0" y="742"/>
                          <a:pt x="0" y="742"/>
                          <a:pt x="0" y="742"/>
                        </a:cubicBezTo>
                        <a:cubicBezTo>
                          <a:pt x="0" y="979"/>
                          <a:pt x="0" y="979"/>
                          <a:pt x="0" y="979"/>
                        </a:cubicBezTo>
                        <a:cubicBezTo>
                          <a:pt x="187" y="979"/>
                          <a:pt x="187" y="979"/>
                          <a:pt x="187" y="979"/>
                        </a:cubicBezTo>
                        <a:cubicBezTo>
                          <a:pt x="194" y="1019"/>
                          <a:pt x="205" y="1057"/>
                          <a:pt x="218" y="1095"/>
                        </a:cubicBezTo>
                        <a:cubicBezTo>
                          <a:pt x="57" y="1188"/>
                          <a:pt x="57" y="1188"/>
                          <a:pt x="57" y="1188"/>
                        </a:cubicBezTo>
                        <a:cubicBezTo>
                          <a:pt x="175" y="1393"/>
                          <a:pt x="175" y="1393"/>
                          <a:pt x="175" y="1393"/>
                        </a:cubicBezTo>
                        <a:cubicBezTo>
                          <a:pt x="336" y="1300"/>
                          <a:pt x="336" y="1300"/>
                          <a:pt x="336" y="1300"/>
                        </a:cubicBezTo>
                        <a:cubicBezTo>
                          <a:pt x="362" y="1331"/>
                          <a:pt x="391" y="1359"/>
                          <a:pt x="421" y="1385"/>
                        </a:cubicBezTo>
                        <a:cubicBezTo>
                          <a:pt x="328" y="1546"/>
                          <a:pt x="328" y="1546"/>
                          <a:pt x="328" y="1546"/>
                        </a:cubicBezTo>
                        <a:cubicBezTo>
                          <a:pt x="533" y="1665"/>
                          <a:pt x="533" y="1665"/>
                          <a:pt x="533" y="1665"/>
                        </a:cubicBezTo>
                        <a:cubicBezTo>
                          <a:pt x="627" y="1503"/>
                          <a:pt x="627" y="1503"/>
                          <a:pt x="627" y="1503"/>
                        </a:cubicBezTo>
                        <a:cubicBezTo>
                          <a:pt x="664" y="1516"/>
                          <a:pt x="702" y="1527"/>
                          <a:pt x="742" y="1534"/>
                        </a:cubicBezTo>
                        <a:cubicBezTo>
                          <a:pt x="742" y="1721"/>
                          <a:pt x="742" y="1721"/>
                          <a:pt x="742" y="1721"/>
                        </a:cubicBezTo>
                        <a:cubicBezTo>
                          <a:pt x="979" y="1721"/>
                          <a:pt x="979" y="1721"/>
                          <a:pt x="979" y="1721"/>
                        </a:cubicBezTo>
                        <a:cubicBezTo>
                          <a:pt x="979" y="1534"/>
                          <a:pt x="979" y="1534"/>
                          <a:pt x="979" y="1534"/>
                        </a:cubicBezTo>
                        <a:cubicBezTo>
                          <a:pt x="1019" y="1527"/>
                          <a:pt x="1058" y="1516"/>
                          <a:pt x="1095" y="1503"/>
                        </a:cubicBezTo>
                        <a:cubicBezTo>
                          <a:pt x="1188" y="1665"/>
                          <a:pt x="1188" y="1665"/>
                          <a:pt x="1188" y="1665"/>
                        </a:cubicBezTo>
                        <a:cubicBezTo>
                          <a:pt x="1394" y="1546"/>
                          <a:pt x="1394" y="1546"/>
                          <a:pt x="1394" y="1546"/>
                        </a:cubicBezTo>
                        <a:cubicBezTo>
                          <a:pt x="1300" y="1385"/>
                          <a:pt x="1300" y="1385"/>
                          <a:pt x="1300" y="1385"/>
                        </a:cubicBezTo>
                        <a:cubicBezTo>
                          <a:pt x="1331" y="1359"/>
                          <a:pt x="1360" y="1331"/>
                          <a:pt x="1385" y="1300"/>
                        </a:cubicBezTo>
                        <a:cubicBezTo>
                          <a:pt x="1547" y="1393"/>
                          <a:pt x="1547" y="1393"/>
                          <a:pt x="1547" y="1393"/>
                        </a:cubicBezTo>
                        <a:cubicBezTo>
                          <a:pt x="1665" y="1188"/>
                          <a:pt x="1665" y="1188"/>
                          <a:pt x="1665" y="1188"/>
                        </a:cubicBezTo>
                        <a:cubicBezTo>
                          <a:pt x="1504" y="1095"/>
                          <a:pt x="1504" y="1095"/>
                          <a:pt x="1504" y="1095"/>
                        </a:cubicBezTo>
                        <a:cubicBezTo>
                          <a:pt x="1517" y="1057"/>
                          <a:pt x="1528" y="1019"/>
                          <a:pt x="1535" y="979"/>
                        </a:cubicBezTo>
                        <a:lnTo>
                          <a:pt x="1721" y="97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de-DE" sz="4000" dirty="0"/>
                  </a:p>
                </p:txBody>
              </p:sp>
              <p:sp>
                <p:nvSpPr>
                  <p:cNvPr id="59" name="Oval 596" descr="© INSCALE GmbH, 21.06.2010"/>
                  <p:cNvSpPr>
                    <a:spLocks noChangeArrowheads="1"/>
                  </p:cNvSpPr>
                  <p:nvPr/>
                </p:nvSpPr>
                <p:spPr bwMode="gray">
                  <a:xfrm>
                    <a:off x="4770" y="3651"/>
                    <a:ext cx="39" cy="39"/>
                  </a:xfrm>
                  <a:prstGeom prst="ellipse">
                    <a:avLst/>
                  </a:prstGeom>
                  <a:solidFill>
                    <a:schemeClr val="accent1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de-DE" sz="4000" dirty="0"/>
                  </a:p>
                </p:txBody>
              </p:sp>
            </p:grpSp>
            <p:sp>
              <p:nvSpPr>
                <p:cNvPr id="52" name="Ellipse 108"/>
                <p:cNvSpPr/>
                <p:nvPr/>
              </p:nvSpPr>
              <p:spPr bwMode="auto">
                <a:xfrm>
                  <a:off x="5539985" y="1815282"/>
                  <a:ext cx="807999" cy="807999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lIns="0" tIns="0" rIns="0" bIns="0" rtlCol="0" anchor="ctr"/>
                <a:lstStyle/>
                <a:p>
                  <a:pPr algn="ctr"/>
                  <a:r>
                    <a:rPr lang="de-DE" b="1" dirty="0" err="1" smtClean="0">
                      <a:solidFill>
                        <a:schemeClr val="bg1"/>
                      </a:solidFill>
                    </a:rPr>
                    <a:t>Teacher</a:t>
                  </a:r>
                  <a:endParaRPr lang="de-DE" sz="12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3" name="Ellipse 111"/>
                <p:cNvSpPr/>
                <p:nvPr/>
              </p:nvSpPr>
              <p:spPr bwMode="auto">
                <a:xfrm>
                  <a:off x="8942152" y="1760621"/>
                  <a:ext cx="807999" cy="807999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r>
                    <a:rPr lang="de-DE" sz="2800" b="1" dirty="0">
                      <a:solidFill>
                        <a:schemeClr val="bg1"/>
                      </a:solidFill>
                    </a:rPr>
                    <a:t>A</a:t>
                  </a:r>
                </a:p>
              </p:txBody>
            </p:sp>
            <p:sp>
              <p:nvSpPr>
                <p:cNvPr id="54" name="Ellipse 112"/>
                <p:cNvSpPr/>
                <p:nvPr/>
              </p:nvSpPr>
              <p:spPr bwMode="auto">
                <a:xfrm>
                  <a:off x="8985443" y="1818667"/>
                  <a:ext cx="807999" cy="807999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lIns="0" tIns="0" rIns="0" bIns="0" rtlCol="0" anchor="ctr"/>
                <a:lstStyle/>
                <a:p>
                  <a:pPr algn="ctr"/>
                  <a:r>
                    <a:rPr lang="de-DE" sz="1200" b="1" dirty="0" smtClean="0">
                      <a:solidFill>
                        <a:schemeClr val="bg1"/>
                      </a:solidFill>
                    </a:rPr>
                    <a:t>Exam</a:t>
                  </a:r>
                  <a:endParaRPr lang="de-DE" sz="12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55" name="Gerade Verbindung mit Pfeil 121"/>
                <p:cNvCxnSpPr/>
                <p:nvPr/>
              </p:nvCxnSpPr>
              <p:spPr>
                <a:xfrm>
                  <a:off x="9218458" y="953820"/>
                  <a:ext cx="32683" cy="904615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63" name="Freeform 25"/>
          <p:cNvSpPr>
            <a:spLocks noEditPoints="1"/>
          </p:cNvSpPr>
          <p:nvPr/>
        </p:nvSpPr>
        <p:spPr bwMode="auto">
          <a:xfrm>
            <a:off x="-28297" y="4915610"/>
            <a:ext cx="2262893" cy="1185009"/>
          </a:xfrm>
          <a:custGeom>
            <a:avLst/>
            <a:gdLst>
              <a:gd name="T0" fmla="*/ 203 w 215"/>
              <a:gd name="T1" fmla="*/ 89 h 140"/>
              <a:gd name="T2" fmla="*/ 203 w 215"/>
              <a:gd name="T3" fmla="*/ 49 h 140"/>
              <a:gd name="T4" fmla="*/ 206 w 215"/>
              <a:gd name="T5" fmla="*/ 44 h 140"/>
              <a:gd name="T6" fmla="*/ 200 w 215"/>
              <a:gd name="T7" fmla="*/ 37 h 140"/>
              <a:gd name="T8" fmla="*/ 112 w 215"/>
              <a:gd name="T9" fmla="*/ 2 h 140"/>
              <a:gd name="T10" fmla="*/ 94 w 215"/>
              <a:gd name="T11" fmla="*/ 2 h 140"/>
              <a:gd name="T12" fmla="*/ 6 w 215"/>
              <a:gd name="T13" fmla="*/ 37 h 140"/>
              <a:gd name="T14" fmla="*/ 0 w 215"/>
              <a:gd name="T15" fmla="*/ 44 h 140"/>
              <a:gd name="T16" fmla="*/ 6 w 215"/>
              <a:gd name="T17" fmla="*/ 51 h 140"/>
              <a:gd name="T18" fmla="*/ 39 w 215"/>
              <a:gd name="T19" fmla="*/ 64 h 140"/>
              <a:gd name="T20" fmla="*/ 39 w 215"/>
              <a:gd name="T21" fmla="*/ 112 h 140"/>
              <a:gd name="T22" fmla="*/ 40 w 215"/>
              <a:gd name="T23" fmla="*/ 115 h 140"/>
              <a:gd name="T24" fmla="*/ 103 w 215"/>
              <a:gd name="T25" fmla="*/ 140 h 140"/>
              <a:gd name="T26" fmla="*/ 166 w 215"/>
              <a:gd name="T27" fmla="*/ 115 h 140"/>
              <a:gd name="T28" fmla="*/ 167 w 215"/>
              <a:gd name="T29" fmla="*/ 112 h 140"/>
              <a:gd name="T30" fmla="*/ 167 w 215"/>
              <a:gd name="T31" fmla="*/ 64 h 140"/>
              <a:gd name="T32" fmla="*/ 195 w 215"/>
              <a:gd name="T33" fmla="*/ 53 h 140"/>
              <a:gd name="T34" fmla="*/ 195 w 215"/>
              <a:gd name="T35" fmla="*/ 89 h 140"/>
              <a:gd name="T36" fmla="*/ 183 w 215"/>
              <a:gd name="T37" fmla="*/ 104 h 140"/>
              <a:gd name="T38" fmla="*/ 199 w 215"/>
              <a:gd name="T39" fmla="*/ 120 h 140"/>
              <a:gd name="T40" fmla="*/ 215 w 215"/>
              <a:gd name="T41" fmla="*/ 104 h 140"/>
              <a:gd name="T42" fmla="*/ 203 w 215"/>
              <a:gd name="T43" fmla="*/ 89 h 140"/>
              <a:gd name="T44" fmla="*/ 159 w 215"/>
              <a:gd name="T45" fmla="*/ 110 h 140"/>
              <a:gd name="T46" fmla="*/ 47 w 215"/>
              <a:gd name="T47" fmla="*/ 110 h 140"/>
              <a:gd name="T48" fmla="*/ 47 w 215"/>
              <a:gd name="T49" fmla="*/ 67 h 140"/>
              <a:gd name="T50" fmla="*/ 94 w 215"/>
              <a:gd name="T51" fmla="*/ 86 h 140"/>
              <a:gd name="T52" fmla="*/ 103 w 215"/>
              <a:gd name="T53" fmla="*/ 88 h 140"/>
              <a:gd name="T54" fmla="*/ 112 w 215"/>
              <a:gd name="T55" fmla="*/ 86 h 140"/>
              <a:gd name="T56" fmla="*/ 159 w 215"/>
              <a:gd name="T57" fmla="*/ 67 h 140"/>
              <a:gd name="T58" fmla="*/ 159 w 215"/>
              <a:gd name="T59" fmla="*/ 110 h 140"/>
              <a:gd name="T60" fmla="*/ 109 w 215"/>
              <a:gd name="T61" fmla="*/ 79 h 140"/>
              <a:gd name="T62" fmla="*/ 97 w 215"/>
              <a:gd name="T63" fmla="*/ 79 h 140"/>
              <a:gd name="T64" fmla="*/ 11 w 215"/>
              <a:gd name="T65" fmla="*/ 44 h 140"/>
              <a:gd name="T66" fmla="*/ 97 w 215"/>
              <a:gd name="T67" fmla="*/ 9 h 140"/>
              <a:gd name="T68" fmla="*/ 109 w 215"/>
              <a:gd name="T69" fmla="*/ 9 h 140"/>
              <a:gd name="T70" fmla="*/ 195 w 215"/>
              <a:gd name="T71" fmla="*/ 44 h 140"/>
              <a:gd name="T72" fmla="*/ 195 w 215"/>
              <a:gd name="T73" fmla="*/ 44 h 140"/>
              <a:gd name="T74" fmla="*/ 195 w 215"/>
              <a:gd name="T75" fmla="*/ 44 h 140"/>
              <a:gd name="T76" fmla="*/ 109 w 215"/>
              <a:gd name="T77" fmla="*/ 79 h 140"/>
              <a:gd name="T78" fmla="*/ 199 w 215"/>
              <a:gd name="T79" fmla="*/ 112 h 140"/>
              <a:gd name="T80" fmla="*/ 191 w 215"/>
              <a:gd name="T81" fmla="*/ 104 h 140"/>
              <a:gd name="T82" fmla="*/ 199 w 215"/>
              <a:gd name="T83" fmla="*/ 96 h 140"/>
              <a:gd name="T84" fmla="*/ 207 w 215"/>
              <a:gd name="T85" fmla="*/ 104 h 140"/>
              <a:gd name="T86" fmla="*/ 199 w 215"/>
              <a:gd name="T87" fmla="*/ 112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15" h="140">
                <a:moveTo>
                  <a:pt x="203" y="89"/>
                </a:moveTo>
                <a:cubicBezTo>
                  <a:pt x="203" y="49"/>
                  <a:pt x="203" y="49"/>
                  <a:pt x="203" y="49"/>
                </a:cubicBezTo>
                <a:cubicBezTo>
                  <a:pt x="205" y="47"/>
                  <a:pt x="206" y="45"/>
                  <a:pt x="206" y="44"/>
                </a:cubicBezTo>
                <a:cubicBezTo>
                  <a:pt x="206" y="42"/>
                  <a:pt x="205" y="39"/>
                  <a:pt x="200" y="37"/>
                </a:cubicBezTo>
                <a:cubicBezTo>
                  <a:pt x="112" y="2"/>
                  <a:pt x="112" y="2"/>
                  <a:pt x="112" y="2"/>
                </a:cubicBezTo>
                <a:cubicBezTo>
                  <a:pt x="107" y="0"/>
                  <a:pt x="99" y="0"/>
                  <a:pt x="94" y="2"/>
                </a:cubicBezTo>
                <a:cubicBezTo>
                  <a:pt x="6" y="37"/>
                  <a:pt x="6" y="37"/>
                  <a:pt x="6" y="37"/>
                </a:cubicBezTo>
                <a:cubicBezTo>
                  <a:pt x="1" y="39"/>
                  <a:pt x="0" y="42"/>
                  <a:pt x="0" y="44"/>
                </a:cubicBezTo>
                <a:cubicBezTo>
                  <a:pt x="0" y="46"/>
                  <a:pt x="1" y="49"/>
                  <a:pt x="6" y="51"/>
                </a:cubicBezTo>
                <a:cubicBezTo>
                  <a:pt x="39" y="64"/>
                  <a:pt x="39" y="64"/>
                  <a:pt x="39" y="64"/>
                </a:cubicBezTo>
                <a:cubicBezTo>
                  <a:pt x="39" y="112"/>
                  <a:pt x="39" y="112"/>
                  <a:pt x="39" y="112"/>
                </a:cubicBezTo>
                <a:cubicBezTo>
                  <a:pt x="39" y="113"/>
                  <a:pt x="39" y="114"/>
                  <a:pt x="40" y="115"/>
                </a:cubicBezTo>
                <a:cubicBezTo>
                  <a:pt x="58" y="131"/>
                  <a:pt x="80" y="140"/>
                  <a:pt x="103" y="140"/>
                </a:cubicBezTo>
                <a:cubicBezTo>
                  <a:pt x="126" y="140"/>
                  <a:pt x="148" y="131"/>
                  <a:pt x="166" y="115"/>
                </a:cubicBezTo>
                <a:cubicBezTo>
                  <a:pt x="167" y="114"/>
                  <a:pt x="167" y="113"/>
                  <a:pt x="167" y="112"/>
                </a:cubicBezTo>
                <a:cubicBezTo>
                  <a:pt x="167" y="64"/>
                  <a:pt x="167" y="64"/>
                  <a:pt x="167" y="64"/>
                </a:cubicBezTo>
                <a:cubicBezTo>
                  <a:pt x="195" y="53"/>
                  <a:pt x="195" y="53"/>
                  <a:pt x="195" y="5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188" y="90"/>
                  <a:pt x="183" y="97"/>
                  <a:pt x="183" y="104"/>
                </a:cubicBezTo>
                <a:cubicBezTo>
                  <a:pt x="183" y="113"/>
                  <a:pt x="190" y="120"/>
                  <a:pt x="199" y="120"/>
                </a:cubicBezTo>
                <a:cubicBezTo>
                  <a:pt x="208" y="120"/>
                  <a:pt x="215" y="113"/>
                  <a:pt x="215" y="104"/>
                </a:cubicBezTo>
                <a:cubicBezTo>
                  <a:pt x="215" y="97"/>
                  <a:pt x="210" y="90"/>
                  <a:pt x="203" y="89"/>
                </a:cubicBezTo>
                <a:close/>
                <a:moveTo>
                  <a:pt x="159" y="110"/>
                </a:moveTo>
                <a:cubicBezTo>
                  <a:pt x="127" y="139"/>
                  <a:pt x="79" y="139"/>
                  <a:pt x="47" y="110"/>
                </a:cubicBezTo>
                <a:cubicBezTo>
                  <a:pt x="47" y="67"/>
                  <a:pt x="47" y="67"/>
                  <a:pt x="47" y="67"/>
                </a:cubicBezTo>
                <a:cubicBezTo>
                  <a:pt x="94" y="86"/>
                  <a:pt x="94" y="86"/>
                  <a:pt x="94" y="86"/>
                </a:cubicBezTo>
                <a:cubicBezTo>
                  <a:pt x="97" y="87"/>
                  <a:pt x="100" y="88"/>
                  <a:pt x="103" y="88"/>
                </a:cubicBezTo>
                <a:cubicBezTo>
                  <a:pt x="106" y="88"/>
                  <a:pt x="109" y="87"/>
                  <a:pt x="112" y="86"/>
                </a:cubicBezTo>
                <a:cubicBezTo>
                  <a:pt x="159" y="67"/>
                  <a:pt x="159" y="67"/>
                  <a:pt x="159" y="67"/>
                </a:cubicBezTo>
                <a:lnTo>
                  <a:pt x="159" y="110"/>
                </a:lnTo>
                <a:close/>
                <a:moveTo>
                  <a:pt x="109" y="79"/>
                </a:moveTo>
                <a:cubicBezTo>
                  <a:pt x="106" y="80"/>
                  <a:pt x="100" y="80"/>
                  <a:pt x="97" y="79"/>
                </a:cubicBezTo>
                <a:cubicBezTo>
                  <a:pt x="11" y="44"/>
                  <a:pt x="11" y="44"/>
                  <a:pt x="11" y="44"/>
                </a:cubicBezTo>
                <a:cubicBezTo>
                  <a:pt x="97" y="9"/>
                  <a:pt x="97" y="9"/>
                  <a:pt x="97" y="9"/>
                </a:cubicBezTo>
                <a:cubicBezTo>
                  <a:pt x="100" y="8"/>
                  <a:pt x="106" y="8"/>
                  <a:pt x="109" y="9"/>
                </a:cubicBezTo>
                <a:cubicBezTo>
                  <a:pt x="195" y="44"/>
                  <a:pt x="195" y="44"/>
                  <a:pt x="195" y="44"/>
                </a:cubicBezTo>
                <a:cubicBezTo>
                  <a:pt x="195" y="44"/>
                  <a:pt x="195" y="44"/>
                  <a:pt x="195" y="44"/>
                </a:cubicBezTo>
                <a:cubicBezTo>
                  <a:pt x="195" y="44"/>
                  <a:pt x="195" y="44"/>
                  <a:pt x="195" y="44"/>
                </a:cubicBezTo>
                <a:lnTo>
                  <a:pt x="109" y="79"/>
                </a:lnTo>
                <a:close/>
                <a:moveTo>
                  <a:pt x="199" y="112"/>
                </a:moveTo>
                <a:cubicBezTo>
                  <a:pt x="195" y="112"/>
                  <a:pt x="191" y="108"/>
                  <a:pt x="191" y="104"/>
                </a:cubicBezTo>
                <a:cubicBezTo>
                  <a:pt x="191" y="100"/>
                  <a:pt x="195" y="96"/>
                  <a:pt x="199" y="96"/>
                </a:cubicBezTo>
                <a:cubicBezTo>
                  <a:pt x="203" y="96"/>
                  <a:pt x="207" y="100"/>
                  <a:pt x="207" y="104"/>
                </a:cubicBezTo>
                <a:cubicBezTo>
                  <a:pt x="207" y="108"/>
                  <a:pt x="203" y="112"/>
                  <a:pt x="199" y="112"/>
                </a:cubicBezTo>
                <a:close/>
              </a:path>
            </a:pathLst>
          </a:custGeom>
          <a:solidFill>
            <a:srgbClr val="10A18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38657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7" name="learning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154866" y="527050"/>
            <a:ext cx="6350001" cy="5803900"/>
          </a:xfrm>
          <a:prstGeom prst="rect">
            <a:avLst/>
          </a:prstGeom>
          <a:ln w="12700">
            <a:miter lim="400000"/>
          </a:ln>
        </p:spPr>
      </p:pic>
      <p:sp>
        <p:nvSpPr>
          <p:cNvPr id="748" name="Shape 748"/>
          <p:cNvSpPr/>
          <p:nvPr/>
        </p:nvSpPr>
        <p:spPr>
          <a:xfrm>
            <a:off x="288237" y="7291811"/>
            <a:ext cx="20590701" cy="4169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 marL="192881" indent="-78581" defTabSz="228600">
              <a:lnSpc>
                <a:spcPct val="107916"/>
              </a:lnSpc>
              <a:spcBef>
                <a:spcPts val="400"/>
              </a:spcBef>
              <a:buSzPct val="100000"/>
              <a:buAutoNum type="arabicPeriod"/>
              <a:defRPr sz="1800"/>
            </a:pPr>
            <a:r>
              <a:rPr sz="2200">
                <a:uFill>
                  <a:solidFill>
                    <a:srgbClr val="FF0000"/>
                  </a:solidFill>
                </a:uFill>
                <a:latin typeface="Calibri"/>
                <a:ea typeface="Calibri"/>
                <a:cs typeface="Calibri"/>
                <a:sym typeface="Calibri"/>
              </a:rPr>
              <a:t>It comes down to people, we have to </a:t>
            </a:r>
            <a:r>
              <a:rPr sz="2200" u="sng">
                <a:uFill>
                  <a:solidFill>
                    <a:srgbClr val="FF0000"/>
                  </a:solidFill>
                </a:uFill>
                <a:latin typeface="Calibri"/>
                <a:ea typeface="Calibri"/>
                <a:cs typeface="Calibri"/>
                <a:sym typeface="Calibri"/>
              </a:rPr>
              <a:t>work and learn at the same time</a:t>
            </a:r>
            <a:r>
              <a:rPr sz="2200">
                <a:uFill>
                  <a:solidFill>
                    <a:srgbClr val="FF0000"/>
                  </a:solidFill>
                </a:uFill>
                <a:latin typeface="Calibri"/>
                <a:ea typeface="Calibri"/>
                <a:cs typeface="Calibri"/>
                <a:sym typeface="Calibri"/>
              </a:rPr>
              <a:t>. It’s all about the learning mentality (ex. What you learn in the first year will be outdated by the third year)</a:t>
            </a:r>
          </a:p>
        </p:txBody>
      </p:sp>
      <p:sp>
        <p:nvSpPr>
          <p:cNvPr id="749" name="Shape 749"/>
          <p:cNvSpPr/>
          <p:nvPr/>
        </p:nvSpPr>
        <p:spPr>
          <a:xfrm>
            <a:off x="7582505" y="1145745"/>
            <a:ext cx="4549078" cy="15747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defTabSz="825500">
              <a:defRPr sz="55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lvl="0" algn="l">
              <a:defRPr sz="1800" b="0">
                <a:solidFill>
                  <a:srgbClr val="000000"/>
                </a:solidFill>
              </a:defRPr>
            </a:pPr>
            <a:r>
              <a:rPr lang="en-US" sz="2750" dirty="0">
                <a:solidFill>
                  <a:schemeClr val="tx1"/>
                </a:solidFill>
              </a:rPr>
              <a:t>What you learn in </a:t>
            </a:r>
            <a:r>
              <a:rPr lang="en-US" sz="3300" dirty="0">
                <a:solidFill>
                  <a:schemeClr val="accent5"/>
                </a:solidFill>
              </a:rPr>
              <a:t>freshman</a:t>
            </a:r>
            <a:r>
              <a:rPr lang="en-US" sz="3300" dirty="0">
                <a:solidFill>
                  <a:schemeClr val="tx1"/>
                </a:solidFill>
              </a:rPr>
              <a:t> </a:t>
            </a:r>
            <a:r>
              <a:rPr lang="en-US" sz="2750" dirty="0">
                <a:solidFill>
                  <a:schemeClr val="tx1"/>
                </a:solidFill>
              </a:rPr>
              <a:t>year will be </a:t>
            </a:r>
            <a:r>
              <a:rPr lang="en-US" sz="3300" dirty="0">
                <a:solidFill>
                  <a:schemeClr val="accent5"/>
                </a:solidFill>
              </a:rPr>
              <a:t>outdated</a:t>
            </a:r>
            <a:r>
              <a:rPr lang="en-US" sz="3300" dirty="0">
                <a:solidFill>
                  <a:schemeClr val="tx1"/>
                </a:solidFill>
              </a:rPr>
              <a:t> </a:t>
            </a:r>
            <a:r>
              <a:rPr lang="en-US" sz="2750" dirty="0">
                <a:solidFill>
                  <a:schemeClr val="tx1"/>
                </a:solidFill>
              </a:rPr>
              <a:t>by the time of your </a:t>
            </a:r>
            <a:r>
              <a:rPr lang="en-US" sz="3300" dirty="0">
                <a:solidFill>
                  <a:schemeClr val="accent5"/>
                </a:solidFill>
              </a:rPr>
              <a:t>internship</a:t>
            </a:r>
            <a:endParaRPr sz="2750" dirty="0">
              <a:solidFill>
                <a:schemeClr val="accent5"/>
              </a:solidFill>
            </a:endParaRPr>
          </a:p>
        </p:txBody>
      </p:sp>
      <p:sp>
        <p:nvSpPr>
          <p:cNvPr id="750" name="Shape 750"/>
          <p:cNvSpPr/>
          <p:nvPr/>
        </p:nvSpPr>
        <p:spPr>
          <a:xfrm>
            <a:off x="7642923" y="2980159"/>
            <a:ext cx="3301866" cy="8976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 defTabSz="412750">
              <a:defRPr sz="1800"/>
            </a:pPr>
            <a:r>
              <a:rPr sz="275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It’s all about </a:t>
            </a:r>
          </a:p>
          <a:p>
            <a:pPr defTabSz="412750">
              <a:defRPr sz="1800"/>
            </a:pPr>
            <a:r>
              <a:rPr sz="275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the learning mentality</a:t>
            </a:r>
          </a:p>
        </p:txBody>
      </p:sp>
    </p:spTree>
    <p:extLst>
      <p:ext uri="{BB962C8B-B14F-4D97-AF65-F5344CB8AC3E}">
        <p14:creationId xmlns:p14="http://schemas.microsoft.com/office/powerpoint/2010/main" val="3534629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7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fill="hold"/>
                                        <p:tgtEl>
                                          <p:spTgt spid="7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7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9" grpId="0" animBg="1" advAuto="0"/>
      <p:bldP spid="750" grpId="0" animBg="1" advAuto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Image result for globish academi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575" y="442912"/>
            <a:ext cx="11906250" cy="5838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345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075" y="414337"/>
            <a:ext cx="11972925" cy="5800725"/>
          </a:xfrm>
          <a:prstGeom prst="rect">
            <a:avLst/>
          </a:prstGeom>
        </p:spPr>
      </p:pic>
      <p:pic>
        <p:nvPicPr>
          <p:cNvPr id="23554" name="Picture 2" descr="https://fbcdn-profile-a.akamaihd.net/hprofile-ak-xpa1/v/t1.0-1/c170.50.621.621/s160x160/184476_311424135624044_816797475_n.jpg?oh=37199d5bf42f3ebaea346a63f5be1260&amp;oe=56788D3A&amp;__gda__=1451452793_229b4e8bd04f9784932d067b6cc46ab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474" y="744537"/>
            <a:ext cx="2779711" cy="2779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1987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761181" y="3733800"/>
            <a:ext cx="5011094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70000"/>
              </a:lnSpc>
            </a:pPr>
            <a:r>
              <a:rPr lang="en-US" sz="1400" b="1" dirty="0">
                <a:latin typeface="KaniGa Patana"/>
                <a:cs typeface="KaniGa Patana"/>
              </a:rPr>
              <a:t>A Borderless Learning Area for everyone to have an open chance to study</a:t>
            </a:r>
          </a:p>
          <a:p>
            <a:pPr algn="ctr">
              <a:lnSpc>
                <a:spcPct val="70000"/>
              </a:lnSpc>
            </a:pPr>
            <a:r>
              <a:rPr lang="en-US" sz="1400" b="1" dirty="0">
                <a:latin typeface="KaniGa Patana"/>
                <a:cs typeface="KaniGa Patana"/>
              </a:rPr>
              <a:t>and get to the point of that they are</a:t>
            </a:r>
          </a:p>
          <a:p>
            <a:pPr algn="ctr">
              <a:lnSpc>
                <a:spcPct val="70000"/>
              </a:lnSpc>
            </a:pPr>
            <a:r>
              <a:rPr lang="en-US" sz="1400" b="1" dirty="0">
                <a:latin typeface="KaniGa Patana"/>
                <a:cs typeface="KaniGa Patana"/>
              </a:rPr>
              <a:t>looking for in doing business and enhance their life skills.</a:t>
            </a:r>
          </a:p>
        </p:txBody>
      </p:sp>
      <p:sp>
        <p:nvSpPr>
          <p:cNvPr id="4" name="Rectangle 3"/>
          <p:cNvSpPr/>
          <p:nvPr/>
        </p:nvSpPr>
        <p:spPr>
          <a:xfrm>
            <a:off x="5077255" y="1279939"/>
            <a:ext cx="52832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i="1" dirty="0">
                <a:latin typeface="KaniGa Patana"/>
                <a:cs typeface="KaniGa Patana"/>
              </a:rPr>
              <a:t>School of Startup</a:t>
            </a:r>
          </a:p>
          <a:p>
            <a:pPr algn="ctr"/>
            <a:r>
              <a:rPr lang="en-US" sz="2000" i="1" dirty="0">
                <a:latin typeface="KaniGa Patana"/>
                <a:cs typeface="KaniGa Patana"/>
              </a:rPr>
              <a:t>School of Thinking Skills</a:t>
            </a:r>
          </a:p>
          <a:p>
            <a:pPr algn="ctr"/>
            <a:r>
              <a:rPr lang="en-US" sz="2000" i="1" dirty="0">
                <a:latin typeface="KaniGa Patana"/>
                <a:cs typeface="KaniGa Patana"/>
              </a:rPr>
              <a:t>School of ASEAN Citize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075" y="47624"/>
            <a:ext cx="10896600" cy="6810376"/>
          </a:xfrm>
          <a:prstGeom prst="rect">
            <a:avLst/>
          </a:prstGeom>
        </p:spPr>
      </p:pic>
      <p:pic>
        <p:nvPicPr>
          <p:cNvPr id="7" name="LOGO-01.pn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5581649" y="1692039"/>
            <a:ext cx="3162301" cy="1698861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extBox 7"/>
          <p:cNvSpPr txBox="1"/>
          <p:nvPr/>
        </p:nvSpPr>
        <p:spPr>
          <a:xfrm>
            <a:off x="7626675" y="2965505"/>
            <a:ext cx="192552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 smtClean="0"/>
              <a:t>ACADEMY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760914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6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67" b="17778"/>
          <a:stretch/>
        </p:blipFill>
        <p:spPr>
          <a:xfrm>
            <a:off x="6407508" y="1522591"/>
            <a:ext cx="2069258" cy="2044733"/>
          </a:xfrm>
          <a:prstGeom prst="flowChartConnector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52" t="24656" r="48175" b="40424"/>
          <a:stretch/>
        </p:blipFill>
        <p:spPr>
          <a:xfrm>
            <a:off x="252530" y="1741977"/>
            <a:ext cx="2019948" cy="2044733"/>
          </a:xfrm>
          <a:prstGeom prst="flowChartConnector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70" t="29524" r="73095" b="42539"/>
          <a:stretch/>
        </p:blipFill>
        <p:spPr>
          <a:xfrm>
            <a:off x="2503257" y="789797"/>
            <a:ext cx="1944628" cy="1974547"/>
          </a:xfrm>
          <a:prstGeom prst="flowChartConnector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31" r="23035" b="10053"/>
          <a:stretch/>
        </p:blipFill>
        <p:spPr>
          <a:xfrm>
            <a:off x="8924379" y="2665577"/>
            <a:ext cx="2821812" cy="2777871"/>
          </a:xfrm>
          <a:prstGeom prst="flowChartConnector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64" t="41693" r="3810" b="5503"/>
          <a:stretch/>
        </p:blipFill>
        <p:spPr>
          <a:xfrm>
            <a:off x="6643986" y="3691654"/>
            <a:ext cx="2280393" cy="2159233"/>
          </a:xfrm>
          <a:prstGeom prst="flowChartConnector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" t="10756" r="30629" b="37927"/>
          <a:stretch/>
        </p:blipFill>
        <p:spPr>
          <a:xfrm>
            <a:off x="4300632" y="2697691"/>
            <a:ext cx="2106876" cy="2073580"/>
          </a:xfrm>
          <a:prstGeom prst="flowChartConnector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880377" y="5443448"/>
            <a:ext cx="10746183" cy="132343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8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latin typeface="+mj-lt"/>
              </a:rPr>
              <a:t>YOU, ME, and the Big WE</a:t>
            </a:r>
            <a:endParaRPr lang="en-US" sz="8000" b="1" dirty="0" smtClean="0"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solidFill>
                <a:srgbClr val="FF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327836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Humpday2.0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78527" y="706592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244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618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https://scontent-kul1-1.xx.fbcdn.net/hphotos-xap1/t31.0-8/10518594_504534399714746_9014714535175200703_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7641" y="0"/>
            <a:ext cx="6881634" cy="6881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4468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1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/>
          <a:srcRect l="68881" t="5255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2900" y="424540"/>
            <a:ext cx="6939290" cy="410285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-76200" y="4630868"/>
            <a:ext cx="12195521" cy="707886"/>
          </a:xfrm>
          <a:prstGeom prst="rect">
            <a:avLst/>
          </a:prstGeom>
          <a:solidFill>
            <a:schemeClr val="tx1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4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LIFE HACKING. And it is not just about shortcut</a:t>
            </a:r>
            <a:r>
              <a:rPr lang="en-US" sz="4000" b="1" dirty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.</a:t>
            </a:r>
            <a:endParaRPr lang="en-US" sz="6000" b="1" dirty="0" smtClean="0"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Flowchart: Connector 7"/>
          <p:cNvSpPr/>
          <p:nvPr/>
        </p:nvSpPr>
        <p:spPr>
          <a:xfrm>
            <a:off x="10534650" y="2821769"/>
            <a:ext cx="1190625" cy="1171575"/>
          </a:xfrm>
          <a:prstGeom prst="flowChartConnector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600" dirty="0">
                <a:solidFill>
                  <a:schemeClr val="bg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7554570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 descr="https://scontent.fbkk5-1.fna.fbcdn.net/hphotos-xap1/t31.0-8/11953317_935627406498287_2702219548496309666_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04775"/>
            <a:ext cx="5136158" cy="726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0673" y="104775"/>
            <a:ext cx="7113201" cy="6367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400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 descr="https://scontent.fbkk5-1.fna.fbcdn.net/hphotos-xft1/v/t1.0-9/11831728_1092110730806897_2881173683194697338_n.jpg?oh=2db7869e95fa27fb317b7b69d01895a9&amp;oe=565DF0E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9700" y="246062"/>
            <a:ext cx="9144000" cy="609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76" name="Picture 4" descr="CareerVisa Thailan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3350"/>
            <a:ext cx="3816350" cy="3816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833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8000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94" name="Picture 2" descr="http://277kty2ux3pg3am1id27wnab.wpengine.netdna-cdn.com/wp-content/uploads/2013/11/smartphone_mobile_communication_vector_flat_icons_apps_social_media_connection_modern_design_concept_illustration-1030x1014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47194">
            <a:off x="107818" y="152616"/>
            <a:ext cx="6810512" cy="6704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Startup Page1.jpg"/>
          <p:cNvPicPr/>
          <p:nvPr/>
        </p:nvPicPr>
        <p:blipFill>
          <a:blip r:embed="rId8">
            <a:extLst/>
          </a:blip>
          <a:stretch>
            <a:fillRect/>
          </a:stretch>
        </p:blipFill>
        <p:spPr>
          <a:xfrm>
            <a:off x="6055394" y="0"/>
            <a:ext cx="6136606" cy="6858000"/>
          </a:xfrm>
          <a:prstGeom prst="rect">
            <a:avLst/>
          </a:prstGeom>
          <a:ln>
            <a:noFill/>
          </a:ln>
          <a:effectLst/>
        </p:spPr>
      </p:pic>
      <p:sp>
        <p:nvSpPr>
          <p:cNvPr id="9" name="TextBox 8"/>
          <p:cNvSpPr txBox="1"/>
          <p:nvPr/>
        </p:nvSpPr>
        <p:spPr>
          <a:xfrm>
            <a:off x="981075" y="125543"/>
            <a:ext cx="4867275" cy="1938992"/>
          </a:xfrm>
          <a:prstGeom prst="rect">
            <a:avLst/>
          </a:prstGeom>
          <a:solidFill>
            <a:schemeClr val="tx1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4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Incubator</a:t>
            </a:r>
          </a:p>
          <a:p>
            <a:pPr algn="ctr"/>
            <a:r>
              <a:rPr lang="en-US" sz="4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+</a:t>
            </a:r>
          </a:p>
          <a:p>
            <a:pPr algn="ctr"/>
            <a:r>
              <a:rPr lang="en-US" sz="4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Accelerator </a:t>
            </a:r>
            <a:endParaRPr lang="en-US" sz="6000" b="1" dirty="0" smtClean="0"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46316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/>
          <a:srcRect l="68881" t="5255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2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514725" y="4630868"/>
            <a:ext cx="8604596" cy="707886"/>
          </a:xfrm>
          <a:prstGeom prst="rect">
            <a:avLst/>
          </a:prstGeom>
          <a:solidFill>
            <a:schemeClr val="tx1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4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Corporate – No more cubical nation </a:t>
            </a:r>
          </a:p>
        </p:txBody>
      </p:sp>
      <p:sp>
        <p:nvSpPr>
          <p:cNvPr id="8" name="Flowchart: Connector 7"/>
          <p:cNvSpPr/>
          <p:nvPr/>
        </p:nvSpPr>
        <p:spPr>
          <a:xfrm>
            <a:off x="2105025" y="4399023"/>
            <a:ext cx="1190625" cy="1171575"/>
          </a:xfrm>
          <a:prstGeom prst="flowChartConnector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600" dirty="0" smtClean="0">
                <a:solidFill>
                  <a:schemeClr val="bg1"/>
                </a:solidFill>
              </a:rPr>
              <a:t>5</a:t>
            </a:r>
            <a:endParaRPr lang="en-US" sz="9600" dirty="0">
              <a:solidFill>
                <a:schemeClr val="bg1"/>
              </a:solidFill>
            </a:endParaRPr>
          </a:p>
        </p:txBody>
      </p:sp>
      <p:pic>
        <p:nvPicPr>
          <p:cNvPr id="9" name="Picture 2" descr="http://s3.amazonaws.com/readers/2010/11/08/legocubiclefarm_1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2114" y="152252"/>
            <a:ext cx="4246771" cy="4246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70993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https://cdn0.iconfinder.com/data/icons/business-and-management-round-flat-icons/500/partnership-51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792" y="1024700"/>
            <a:ext cx="4876800" cy="4876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7592" y="1282464"/>
            <a:ext cx="9541566" cy="470262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685925" y="1792418"/>
            <a:ext cx="8604596" cy="707886"/>
          </a:xfrm>
          <a:prstGeom prst="rect">
            <a:avLst/>
          </a:prstGeom>
          <a:solidFill>
            <a:schemeClr val="tx1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4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Money &amp; Meaning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685925" y="2925893"/>
            <a:ext cx="8604596" cy="707886"/>
          </a:xfrm>
          <a:prstGeom prst="rect">
            <a:avLst/>
          </a:prstGeom>
          <a:solidFill>
            <a:schemeClr val="tx1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4000" b="1" dirty="0" err="1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Intrapreneur</a:t>
            </a:r>
            <a:endParaRPr lang="en-US" sz="4000" b="1" dirty="0" smtClean="0"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620409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0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/>
          <a:srcRect l="68881" t="5255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514725" y="4630868"/>
            <a:ext cx="8604596" cy="707886"/>
          </a:xfrm>
          <a:prstGeom prst="rect">
            <a:avLst/>
          </a:prstGeom>
          <a:solidFill>
            <a:schemeClr val="tx1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4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Rethinking the roles of GOVERNMENT</a:t>
            </a:r>
            <a:endParaRPr lang="en-US" sz="6000" b="1" dirty="0" smtClean="0"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Flowchart: Connector 7"/>
          <p:cNvSpPr/>
          <p:nvPr/>
        </p:nvSpPr>
        <p:spPr>
          <a:xfrm>
            <a:off x="2105025" y="4399023"/>
            <a:ext cx="1190625" cy="1171575"/>
          </a:xfrm>
          <a:prstGeom prst="flowChartConnector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600" dirty="0" smtClean="0">
                <a:solidFill>
                  <a:schemeClr val="bg1"/>
                </a:solidFill>
              </a:rPr>
              <a:t>6</a:t>
            </a:r>
            <a:endParaRPr lang="en-US" sz="9600" dirty="0">
              <a:solidFill>
                <a:schemeClr val="bg1"/>
              </a:solidFill>
            </a:endParaRPr>
          </a:p>
        </p:txBody>
      </p:sp>
      <p:pic>
        <p:nvPicPr>
          <p:cNvPr id="30724" name="Picture 4" descr="https://www.zeroaggressionproject.org/wp-content/uploads/2013/10/true-government-icon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3952" y="107161"/>
            <a:ext cx="5006975" cy="500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8425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2" descr="http://3.bp.blogspot.com/-y9G9A_zuf7I/U0aWIFjeGFI/AAAAAAAAKNU/V5qWpeT8Qy4/s1600/wolters-kluwer-cch-tax-law-pileup-2013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7075" y="-1"/>
            <a:ext cx="5441950" cy="7306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7987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http://www.thaismefranchise.com/wp-content/uploads/2011/07/Pandan-Jelly.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94" r="20306"/>
          <a:stretch/>
        </p:blipFill>
        <p:spPr bwMode="auto">
          <a:xfrm>
            <a:off x="838530" y="1781818"/>
            <a:ext cx="3388420" cy="2754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8" name="Picture 4" descr="https://s3-ap-southeast-1.amazonaws.com/photo.wongnai.com/photos/2014/02/07/7ee30b28f75d4e25b4107d1e4d4a872f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05" y="3625986"/>
            <a:ext cx="3670959" cy="274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0" name="Picture 6" descr="http://sofitticraze.exteen.com/images/D7691675-23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042"/>
          <a:stretch/>
        </p:blipFill>
        <p:spPr bwMode="auto">
          <a:xfrm>
            <a:off x="7754467" y="661286"/>
            <a:ext cx="3313099" cy="2724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70" t="29524" r="73095" b="42539"/>
          <a:stretch/>
        </p:blipFill>
        <p:spPr>
          <a:xfrm>
            <a:off x="225627" y="158847"/>
            <a:ext cx="1944628" cy="1974547"/>
          </a:xfrm>
          <a:prstGeom prst="flowChartConnector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67" b="17778"/>
          <a:stretch/>
        </p:blipFill>
        <p:spPr>
          <a:xfrm>
            <a:off x="6445929" y="267673"/>
            <a:ext cx="2069258" cy="2044733"/>
          </a:xfrm>
          <a:prstGeom prst="flowChartConnector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" t="10756" r="30629" b="37927"/>
          <a:stretch/>
        </p:blipFill>
        <p:spPr>
          <a:xfrm>
            <a:off x="7897373" y="3739825"/>
            <a:ext cx="2106876" cy="2073580"/>
          </a:xfrm>
          <a:prstGeom prst="flowChartConnector">
            <a:avLst/>
          </a:prstGeom>
        </p:spPr>
      </p:pic>
    </p:spTree>
    <p:extLst>
      <p:ext uri="{BB962C8B-B14F-4D97-AF65-F5344CB8AC3E}">
        <p14:creationId xmlns:p14="http://schemas.microsoft.com/office/powerpoint/2010/main" val="2034324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8" t="9584" r="6484" b="11389"/>
          <a:stretch/>
        </p:blipFill>
        <p:spPr>
          <a:xfrm>
            <a:off x="85725" y="419099"/>
            <a:ext cx="11908776" cy="5876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73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/>
        </p:nvGrpSpPr>
        <p:grpSpPr>
          <a:xfrm>
            <a:off x="794" y="3372143"/>
            <a:ext cx="7912504" cy="3495124"/>
            <a:chOff x="0" y="3372143"/>
            <a:chExt cx="7912504" cy="3495124"/>
          </a:xfrm>
        </p:grpSpPr>
        <p:grpSp>
          <p:nvGrpSpPr>
            <p:cNvPr id="5" name="Gruppieren 4"/>
            <p:cNvGrpSpPr/>
            <p:nvPr/>
          </p:nvGrpSpPr>
          <p:grpSpPr>
            <a:xfrm>
              <a:off x="4022358" y="3372143"/>
              <a:ext cx="1702615" cy="1045175"/>
              <a:chOff x="4022358" y="3372143"/>
              <a:chExt cx="1702615" cy="1045175"/>
            </a:xfrm>
          </p:grpSpPr>
          <p:sp>
            <p:nvSpPr>
              <p:cNvPr id="212" name="Freeform 31"/>
              <p:cNvSpPr>
                <a:spLocks/>
              </p:cNvSpPr>
              <p:nvPr/>
            </p:nvSpPr>
            <p:spPr bwMode="auto">
              <a:xfrm rot="1324530" flipH="1">
                <a:off x="4757480" y="3699838"/>
                <a:ext cx="212958" cy="232572"/>
              </a:xfrm>
              <a:custGeom>
                <a:avLst/>
                <a:gdLst>
                  <a:gd name="T0" fmla="*/ 0 w 32"/>
                  <a:gd name="T1" fmla="*/ 3 h 35"/>
                  <a:gd name="T2" fmla="*/ 11 w 32"/>
                  <a:gd name="T3" fmla="*/ 20 h 35"/>
                  <a:gd name="T4" fmla="*/ 18 w 32"/>
                  <a:gd name="T5" fmla="*/ 35 h 35"/>
                  <a:gd name="T6" fmla="*/ 32 w 32"/>
                  <a:gd name="T7" fmla="*/ 25 h 35"/>
                  <a:gd name="T8" fmla="*/ 23 w 32"/>
                  <a:gd name="T9" fmla="*/ 0 h 35"/>
                  <a:gd name="T10" fmla="*/ 0 w 32"/>
                  <a:gd name="T11" fmla="*/ 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" h="35">
                    <a:moveTo>
                      <a:pt x="0" y="3"/>
                    </a:moveTo>
                    <a:cubicBezTo>
                      <a:pt x="0" y="3"/>
                      <a:pt x="9" y="14"/>
                      <a:pt x="11" y="20"/>
                    </a:cubicBezTo>
                    <a:cubicBezTo>
                      <a:pt x="11" y="20"/>
                      <a:pt x="16" y="30"/>
                      <a:pt x="18" y="35"/>
                    </a:cubicBezTo>
                    <a:cubicBezTo>
                      <a:pt x="32" y="25"/>
                      <a:pt x="32" y="25"/>
                      <a:pt x="32" y="25"/>
                    </a:cubicBezTo>
                    <a:cubicBezTo>
                      <a:pt x="23" y="0"/>
                      <a:pt x="23" y="0"/>
                      <a:pt x="23" y="0"/>
                    </a:cubicBez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F0A86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1" dirty="0"/>
              </a:p>
            </p:txBody>
          </p:sp>
          <p:sp>
            <p:nvSpPr>
              <p:cNvPr id="213" name="Freeform 40"/>
              <p:cNvSpPr>
                <a:spLocks noEditPoints="1"/>
              </p:cNvSpPr>
              <p:nvPr/>
            </p:nvSpPr>
            <p:spPr bwMode="auto">
              <a:xfrm rot="1324530" flipH="1">
                <a:off x="4022358" y="3372143"/>
                <a:ext cx="1698060" cy="1045175"/>
              </a:xfrm>
              <a:custGeom>
                <a:avLst/>
                <a:gdLst>
                  <a:gd name="T0" fmla="*/ 202 w 257"/>
                  <a:gd name="T1" fmla="*/ 142 h 158"/>
                  <a:gd name="T2" fmla="*/ 217 w 257"/>
                  <a:gd name="T3" fmla="*/ 158 h 158"/>
                  <a:gd name="T4" fmla="*/ 257 w 257"/>
                  <a:gd name="T5" fmla="*/ 139 h 158"/>
                  <a:gd name="T6" fmla="*/ 233 w 257"/>
                  <a:gd name="T7" fmla="*/ 109 h 158"/>
                  <a:gd name="T8" fmla="*/ 193 w 257"/>
                  <a:gd name="T9" fmla="*/ 66 h 158"/>
                  <a:gd name="T10" fmla="*/ 158 w 257"/>
                  <a:gd name="T11" fmla="*/ 21 h 158"/>
                  <a:gd name="T12" fmla="*/ 135 w 257"/>
                  <a:gd name="T13" fmla="*/ 18 h 158"/>
                  <a:gd name="T14" fmla="*/ 116 w 257"/>
                  <a:gd name="T15" fmla="*/ 16 h 158"/>
                  <a:gd name="T16" fmla="*/ 103 w 257"/>
                  <a:gd name="T17" fmla="*/ 9 h 158"/>
                  <a:gd name="T18" fmla="*/ 87 w 257"/>
                  <a:gd name="T19" fmla="*/ 4 h 158"/>
                  <a:gd name="T20" fmla="*/ 51 w 257"/>
                  <a:gd name="T21" fmla="*/ 4 h 158"/>
                  <a:gd name="T22" fmla="*/ 36 w 257"/>
                  <a:gd name="T23" fmla="*/ 7 h 158"/>
                  <a:gd name="T24" fmla="*/ 25 w 257"/>
                  <a:gd name="T25" fmla="*/ 8 h 158"/>
                  <a:gd name="T26" fmla="*/ 38 w 257"/>
                  <a:gd name="T27" fmla="*/ 24 h 158"/>
                  <a:gd name="T28" fmla="*/ 15 w 257"/>
                  <a:gd name="T29" fmla="*/ 43 h 158"/>
                  <a:gd name="T30" fmla="*/ 2 w 257"/>
                  <a:gd name="T31" fmla="*/ 51 h 158"/>
                  <a:gd name="T32" fmla="*/ 23 w 257"/>
                  <a:gd name="T33" fmla="*/ 61 h 158"/>
                  <a:gd name="T34" fmla="*/ 41 w 257"/>
                  <a:gd name="T35" fmla="*/ 49 h 158"/>
                  <a:gd name="T36" fmla="*/ 69 w 257"/>
                  <a:gd name="T37" fmla="*/ 39 h 158"/>
                  <a:gd name="T38" fmla="*/ 54 w 257"/>
                  <a:gd name="T39" fmla="*/ 76 h 158"/>
                  <a:gd name="T40" fmla="*/ 55 w 257"/>
                  <a:gd name="T41" fmla="*/ 90 h 158"/>
                  <a:gd name="T42" fmla="*/ 57 w 257"/>
                  <a:gd name="T43" fmla="*/ 95 h 158"/>
                  <a:gd name="T44" fmla="*/ 63 w 257"/>
                  <a:gd name="T45" fmla="*/ 116 h 158"/>
                  <a:gd name="T46" fmla="*/ 83 w 257"/>
                  <a:gd name="T47" fmla="*/ 120 h 158"/>
                  <a:gd name="T48" fmla="*/ 104 w 257"/>
                  <a:gd name="T49" fmla="*/ 121 h 158"/>
                  <a:gd name="T50" fmla="*/ 132 w 257"/>
                  <a:gd name="T51" fmla="*/ 132 h 158"/>
                  <a:gd name="T52" fmla="*/ 131 w 257"/>
                  <a:gd name="T53" fmla="*/ 131 h 158"/>
                  <a:gd name="T54" fmla="*/ 202 w 257"/>
                  <a:gd name="T55" fmla="*/ 142 h 158"/>
                  <a:gd name="T56" fmla="*/ 105 w 257"/>
                  <a:gd name="T57" fmla="*/ 88 h 158"/>
                  <a:gd name="T58" fmla="*/ 77 w 257"/>
                  <a:gd name="T59" fmla="*/ 86 h 158"/>
                  <a:gd name="T60" fmla="*/ 76 w 257"/>
                  <a:gd name="T61" fmla="*/ 83 h 158"/>
                  <a:gd name="T62" fmla="*/ 75 w 257"/>
                  <a:gd name="T63" fmla="*/ 82 h 158"/>
                  <a:gd name="T64" fmla="*/ 76 w 257"/>
                  <a:gd name="T65" fmla="*/ 83 h 158"/>
                  <a:gd name="T66" fmla="*/ 89 w 257"/>
                  <a:gd name="T67" fmla="*/ 61 h 158"/>
                  <a:gd name="T68" fmla="*/ 113 w 257"/>
                  <a:gd name="T69" fmla="*/ 54 h 158"/>
                  <a:gd name="T70" fmla="*/ 129 w 257"/>
                  <a:gd name="T71" fmla="*/ 58 h 158"/>
                  <a:gd name="T72" fmla="*/ 136 w 257"/>
                  <a:gd name="T73" fmla="*/ 64 h 158"/>
                  <a:gd name="T74" fmla="*/ 133 w 257"/>
                  <a:gd name="T75" fmla="*/ 81 h 158"/>
                  <a:gd name="T76" fmla="*/ 131 w 257"/>
                  <a:gd name="T77" fmla="*/ 88 h 158"/>
                  <a:gd name="T78" fmla="*/ 105 w 257"/>
                  <a:gd name="T79" fmla="*/ 88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57" h="158">
                    <a:moveTo>
                      <a:pt x="202" y="142"/>
                    </a:moveTo>
                    <a:cubicBezTo>
                      <a:pt x="202" y="142"/>
                      <a:pt x="209" y="149"/>
                      <a:pt x="217" y="158"/>
                    </a:cubicBezTo>
                    <a:cubicBezTo>
                      <a:pt x="257" y="139"/>
                      <a:pt x="257" y="139"/>
                      <a:pt x="257" y="139"/>
                    </a:cubicBezTo>
                    <a:cubicBezTo>
                      <a:pt x="250" y="130"/>
                      <a:pt x="235" y="110"/>
                      <a:pt x="233" y="109"/>
                    </a:cubicBezTo>
                    <a:cubicBezTo>
                      <a:pt x="233" y="109"/>
                      <a:pt x="196" y="68"/>
                      <a:pt x="193" y="66"/>
                    </a:cubicBezTo>
                    <a:cubicBezTo>
                      <a:pt x="193" y="66"/>
                      <a:pt x="160" y="22"/>
                      <a:pt x="158" y="21"/>
                    </a:cubicBezTo>
                    <a:cubicBezTo>
                      <a:pt x="158" y="21"/>
                      <a:pt x="148" y="13"/>
                      <a:pt x="135" y="18"/>
                    </a:cubicBezTo>
                    <a:cubicBezTo>
                      <a:pt x="135" y="18"/>
                      <a:pt x="118" y="18"/>
                      <a:pt x="116" y="16"/>
                    </a:cubicBezTo>
                    <a:cubicBezTo>
                      <a:pt x="116" y="16"/>
                      <a:pt x="104" y="7"/>
                      <a:pt x="103" y="9"/>
                    </a:cubicBezTo>
                    <a:cubicBezTo>
                      <a:pt x="103" y="9"/>
                      <a:pt x="97" y="2"/>
                      <a:pt x="87" y="4"/>
                    </a:cubicBezTo>
                    <a:cubicBezTo>
                      <a:pt x="87" y="4"/>
                      <a:pt x="56" y="0"/>
                      <a:pt x="51" y="4"/>
                    </a:cubicBezTo>
                    <a:cubicBezTo>
                      <a:pt x="51" y="4"/>
                      <a:pt x="41" y="4"/>
                      <a:pt x="36" y="7"/>
                    </a:cubicBezTo>
                    <a:cubicBezTo>
                      <a:pt x="36" y="7"/>
                      <a:pt x="30" y="6"/>
                      <a:pt x="25" y="8"/>
                    </a:cubicBezTo>
                    <a:cubicBezTo>
                      <a:pt x="25" y="8"/>
                      <a:pt x="17" y="20"/>
                      <a:pt x="38" y="24"/>
                    </a:cubicBezTo>
                    <a:cubicBezTo>
                      <a:pt x="38" y="24"/>
                      <a:pt x="22" y="29"/>
                      <a:pt x="15" y="43"/>
                    </a:cubicBezTo>
                    <a:cubicBezTo>
                      <a:pt x="15" y="43"/>
                      <a:pt x="2" y="50"/>
                      <a:pt x="2" y="51"/>
                    </a:cubicBezTo>
                    <a:cubicBezTo>
                      <a:pt x="2" y="51"/>
                      <a:pt x="0" y="68"/>
                      <a:pt x="23" y="61"/>
                    </a:cubicBezTo>
                    <a:cubicBezTo>
                      <a:pt x="23" y="61"/>
                      <a:pt x="39" y="51"/>
                      <a:pt x="41" y="49"/>
                    </a:cubicBezTo>
                    <a:cubicBezTo>
                      <a:pt x="41" y="49"/>
                      <a:pt x="49" y="49"/>
                      <a:pt x="69" y="39"/>
                    </a:cubicBezTo>
                    <a:cubicBezTo>
                      <a:pt x="69" y="39"/>
                      <a:pt x="54" y="69"/>
                      <a:pt x="54" y="76"/>
                    </a:cubicBezTo>
                    <a:cubicBezTo>
                      <a:pt x="54" y="76"/>
                      <a:pt x="50" y="85"/>
                      <a:pt x="55" y="90"/>
                    </a:cubicBezTo>
                    <a:cubicBezTo>
                      <a:pt x="57" y="95"/>
                      <a:pt x="57" y="95"/>
                      <a:pt x="57" y="95"/>
                    </a:cubicBezTo>
                    <a:cubicBezTo>
                      <a:pt x="57" y="95"/>
                      <a:pt x="45" y="108"/>
                      <a:pt x="63" y="116"/>
                    </a:cubicBezTo>
                    <a:cubicBezTo>
                      <a:pt x="63" y="116"/>
                      <a:pt x="80" y="122"/>
                      <a:pt x="83" y="120"/>
                    </a:cubicBezTo>
                    <a:cubicBezTo>
                      <a:pt x="83" y="120"/>
                      <a:pt x="100" y="122"/>
                      <a:pt x="104" y="121"/>
                    </a:cubicBezTo>
                    <a:cubicBezTo>
                      <a:pt x="104" y="121"/>
                      <a:pt x="123" y="126"/>
                      <a:pt x="132" y="132"/>
                    </a:cubicBezTo>
                    <a:cubicBezTo>
                      <a:pt x="131" y="132"/>
                      <a:pt x="131" y="131"/>
                      <a:pt x="131" y="131"/>
                    </a:cubicBezTo>
                    <a:cubicBezTo>
                      <a:pt x="131" y="131"/>
                      <a:pt x="175" y="114"/>
                      <a:pt x="202" y="142"/>
                    </a:cubicBezTo>
                    <a:close/>
                    <a:moveTo>
                      <a:pt x="105" y="88"/>
                    </a:moveTo>
                    <a:cubicBezTo>
                      <a:pt x="105" y="88"/>
                      <a:pt x="100" y="82"/>
                      <a:pt x="77" y="86"/>
                    </a:cubicBezTo>
                    <a:cubicBezTo>
                      <a:pt x="77" y="86"/>
                      <a:pt x="77" y="84"/>
                      <a:pt x="76" y="83"/>
                    </a:cubicBezTo>
                    <a:cubicBezTo>
                      <a:pt x="75" y="83"/>
                      <a:pt x="75" y="82"/>
                      <a:pt x="75" y="82"/>
                    </a:cubicBezTo>
                    <a:cubicBezTo>
                      <a:pt x="75" y="82"/>
                      <a:pt x="75" y="82"/>
                      <a:pt x="76" y="83"/>
                    </a:cubicBezTo>
                    <a:cubicBezTo>
                      <a:pt x="77" y="82"/>
                      <a:pt x="81" y="78"/>
                      <a:pt x="89" y="61"/>
                    </a:cubicBezTo>
                    <a:cubicBezTo>
                      <a:pt x="89" y="61"/>
                      <a:pt x="104" y="64"/>
                      <a:pt x="113" y="54"/>
                    </a:cubicBezTo>
                    <a:cubicBezTo>
                      <a:pt x="113" y="54"/>
                      <a:pt x="118" y="60"/>
                      <a:pt x="129" y="58"/>
                    </a:cubicBezTo>
                    <a:cubicBezTo>
                      <a:pt x="129" y="58"/>
                      <a:pt x="131" y="62"/>
                      <a:pt x="136" y="64"/>
                    </a:cubicBezTo>
                    <a:cubicBezTo>
                      <a:pt x="136" y="64"/>
                      <a:pt x="136" y="77"/>
                      <a:pt x="133" y="81"/>
                    </a:cubicBezTo>
                    <a:cubicBezTo>
                      <a:pt x="133" y="81"/>
                      <a:pt x="129" y="86"/>
                      <a:pt x="131" y="88"/>
                    </a:cubicBezTo>
                    <a:cubicBezTo>
                      <a:pt x="131" y="88"/>
                      <a:pt x="105" y="86"/>
                      <a:pt x="105" y="88"/>
                    </a:cubicBezTo>
                    <a:close/>
                  </a:path>
                </a:pathLst>
              </a:custGeom>
              <a:solidFill>
                <a:srgbClr val="F8C08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1" dirty="0"/>
              </a:p>
            </p:txBody>
          </p:sp>
          <p:sp>
            <p:nvSpPr>
              <p:cNvPr id="214" name="Freeform 35"/>
              <p:cNvSpPr>
                <a:spLocks/>
              </p:cNvSpPr>
              <p:nvPr/>
            </p:nvSpPr>
            <p:spPr bwMode="auto">
              <a:xfrm rot="1324530" flipH="1">
                <a:off x="5426274" y="3681078"/>
                <a:ext cx="212958" cy="86864"/>
              </a:xfrm>
              <a:custGeom>
                <a:avLst/>
                <a:gdLst>
                  <a:gd name="T0" fmla="*/ 32 w 32"/>
                  <a:gd name="T1" fmla="*/ 4 h 13"/>
                  <a:gd name="T2" fmla="*/ 32 w 32"/>
                  <a:gd name="T3" fmla="*/ 4 h 13"/>
                  <a:gd name="T4" fmla="*/ 9 w 32"/>
                  <a:gd name="T5" fmla="*/ 13 h 13"/>
                  <a:gd name="T6" fmla="*/ 0 w 32"/>
                  <a:gd name="T7" fmla="*/ 10 h 13"/>
                  <a:gd name="T8" fmla="*/ 32 w 32"/>
                  <a:gd name="T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3">
                    <a:moveTo>
                      <a:pt x="32" y="4"/>
                    </a:moveTo>
                    <a:cubicBezTo>
                      <a:pt x="32" y="4"/>
                      <a:pt x="32" y="4"/>
                      <a:pt x="32" y="4"/>
                    </a:cubicBezTo>
                    <a:cubicBezTo>
                      <a:pt x="28" y="5"/>
                      <a:pt x="11" y="11"/>
                      <a:pt x="9" y="13"/>
                    </a:cubicBezTo>
                    <a:cubicBezTo>
                      <a:pt x="9" y="13"/>
                      <a:pt x="2" y="11"/>
                      <a:pt x="0" y="10"/>
                    </a:cubicBezTo>
                    <a:cubicBezTo>
                      <a:pt x="0" y="10"/>
                      <a:pt x="20" y="0"/>
                      <a:pt x="32" y="4"/>
                    </a:cubicBezTo>
                    <a:close/>
                  </a:path>
                </a:pathLst>
              </a:custGeom>
              <a:solidFill>
                <a:srgbClr val="F0A86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1" dirty="0"/>
              </a:p>
            </p:txBody>
          </p:sp>
          <p:sp>
            <p:nvSpPr>
              <p:cNvPr id="215" name="Freeform 36"/>
              <p:cNvSpPr>
                <a:spLocks/>
              </p:cNvSpPr>
              <p:nvPr/>
            </p:nvSpPr>
            <p:spPr bwMode="auto">
              <a:xfrm rot="1324530" flipH="1">
                <a:off x="5279555" y="3781624"/>
                <a:ext cx="350261" cy="218562"/>
              </a:xfrm>
              <a:custGeom>
                <a:avLst/>
                <a:gdLst>
                  <a:gd name="T0" fmla="*/ 53 w 53"/>
                  <a:gd name="T1" fmla="*/ 7 h 33"/>
                  <a:gd name="T2" fmla="*/ 41 w 53"/>
                  <a:gd name="T3" fmla="*/ 7 h 33"/>
                  <a:gd name="T4" fmla="*/ 20 w 53"/>
                  <a:gd name="T5" fmla="*/ 10 h 33"/>
                  <a:gd name="T6" fmla="*/ 5 w 53"/>
                  <a:gd name="T7" fmla="*/ 21 h 33"/>
                  <a:gd name="T8" fmla="*/ 0 w 53"/>
                  <a:gd name="T9" fmla="*/ 33 h 33"/>
                  <a:gd name="T10" fmla="*/ 21 w 53"/>
                  <a:gd name="T11" fmla="*/ 20 h 33"/>
                  <a:gd name="T12" fmla="*/ 50 w 53"/>
                  <a:gd name="T13" fmla="*/ 9 h 33"/>
                  <a:gd name="T14" fmla="*/ 53 w 53"/>
                  <a:gd name="T15" fmla="*/ 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3" h="33">
                    <a:moveTo>
                      <a:pt x="53" y="7"/>
                    </a:moveTo>
                    <a:cubicBezTo>
                      <a:pt x="53" y="7"/>
                      <a:pt x="50" y="0"/>
                      <a:pt x="41" y="7"/>
                    </a:cubicBezTo>
                    <a:cubicBezTo>
                      <a:pt x="41" y="7"/>
                      <a:pt x="25" y="14"/>
                      <a:pt x="20" y="10"/>
                    </a:cubicBezTo>
                    <a:cubicBezTo>
                      <a:pt x="20" y="10"/>
                      <a:pt x="14" y="4"/>
                      <a:pt x="5" y="21"/>
                    </a:cubicBezTo>
                    <a:cubicBezTo>
                      <a:pt x="5" y="21"/>
                      <a:pt x="0" y="30"/>
                      <a:pt x="0" y="33"/>
                    </a:cubicBezTo>
                    <a:cubicBezTo>
                      <a:pt x="0" y="33"/>
                      <a:pt x="19" y="22"/>
                      <a:pt x="21" y="20"/>
                    </a:cubicBezTo>
                    <a:cubicBezTo>
                      <a:pt x="21" y="20"/>
                      <a:pt x="37" y="16"/>
                      <a:pt x="50" y="9"/>
                    </a:cubicBezTo>
                    <a:cubicBezTo>
                      <a:pt x="50" y="9"/>
                      <a:pt x="50" y="7"/>
                      <a:pt x="53" y="7"/>
                    </a:cubicBezTo>
                    <a:close/>
                  </a:path>
                </a:pathLst>
              </a:custGeom>
              <a:solidFill>
                <a:srgbClr val="F0A86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1" dirty="0"/>
              </a:p>
            </p:txBody>
          </p:sp>
          <p:sp>
            <p:nvSpPr>
              <p:cNvPr id="216" name="Freeform 37"/>
              <p:cNvSpPr>
                <a:spLocks/>
              </p:cNvSpPr>
              <p:nvPr/>
            </p:nvSpPr>
            <p:spPr bwMode="auto">
              <a:xfrm rot="1324530" flipH="1">
                <a:off x="4956059" y="3570445"/>
                <a:ext cx="325041" cy="84062"/>
              </a:xfrm>
              <a:custGeom>
                <a:avLst/>
                <a:gdLst>
                  <a:gd name="T0" fmla="*/ 49 w 49"/>
                  <a:gd name="T1" fmla="*/ 0 h 13"/>
                  <a:gd name="T2" fmla="*/ 0 w 49"/>
                  <a:gd name="T3" fmla="*/ 13 h 13"/>
                  <a:gd name="T4" fmla="*/ 49 w 49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9" h="13">
                    <a:moveTo>
                      <a:pt x="49" y="0"/>
                    </a:moveTo>
                    <a:cubicBezTo>
                      <a:pt x="49" y="0"/>
                      <a:pt x="16" y="4"/>
                      <a:pt x="0" y="13"/>
                    </a:cubicBezTo>
                    <a:cubicBezTo>
                      <a:pt x="0" y="13"/>
                      <a:pt x="13" y="4"/>
                      <a:pt x="49" y="0"/>
                    </a:cubicBezTo>
                    <a:close/>
                  </a:path>
                </a:pathLst>
              </a:custGeom>
              <a:solidFill>
                <a:srgbClr val="F0A868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1" dirty="0"/>
              </a:p>
            </p:txBody>
          </p:sp>
          <p:sp>
            <p:nvSpPr>
              <p:cNvPr id="211" name="Freeform 33"/>
              <p:cNvSpPr>
                <a:spLocks/>
              </p:cNvSpPr>
              <p:nvPr/>
            </p:nvSpPr>
            <p:spPr bwMode="auto">
              <a:xfrm rot="1324530" flipH="1">
                <a:off x="5638107" y="3975943"/>
                <a:ext cx="86866" cy="53238"/>
              </a:xfrm>
              <a:custGeom>
                <a:avLst/>
                <a:gdLst>
                  <a:gd name="T0" fmla="*/ 13 w 13"/>
                  <a:gd name="T1" fmla="*/ 0 h 8"/>
                  <a:gd name="T2" fmla="*/ 7 w 13"/>
                  <a:gd name="T3" fmla="*/ 7 h 8"/>
                  <a:gd name="T4" fmla="*/ 7 w 13"/>
                  <a:gd name="T5" fmla="*/ 7 h 8"/>
                  <a:gd name="T6" fmla="*/ 0 w 13"/>
                  <a:gd name="T7" fmla="*/ 8 h 8"/>
                  <a:gd name="T8" fmla="*/ 13 w 13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8">
                    <a:moveTo>
                      <a:pt x="13" y="0"/>
                    </a:moveTo>
                    <a:cubicBezTo>
                      <a:pt x="13" y="0"/>
                      <a:pt x="8" y="6"/>
                      <a:pt x="7" y="7"/>
                    </a:cubicBezTo>
                    <a:cubicBezTo>
                      <a:pt x="5" y="7"/>
                      <a:pt x="7" y="7"/>
                      <a:pt x="7" y="7"/>
                    </a:cubicBezTo>
                    <a:cubicBezTo>
                      <a:pt x="7" y="7"/>
                      <a:pt x="1" y="7"/>
                      <a:pt x="0" y="8"/>
                    </a:cubicBezTo>
                    <a:cubicBezTo>
                      <a:pt x="0" y="8"/>
                      <a:pt x="1" y="5"/>
                      <a:pt x="13" y="0"/>
                    </a:cubicBezTo>
                    <a:close/>
                  </a:path>
                </a:pathLst>
              </a:custGeom>
              <a:solidFill>
                <a:srgbClr val="F9C998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1" dirty="0"/>
              </a:p>
            </p:txBody>
          </p:sp>
        </p:grpSp>
        <p:grpSp>
          <p:nvGrpSpPr>
            <p:cNvPr id="93" name="Gruppieren 92"/>
            <p:cNvGrpSpPr/>
            <p:nvPr/>
          </p:nvGrpSpPr>
          <p:grpSpPr>
            <a:xfrm>
              <a:off x="4269885" y="4124069"/>
              <a:ext cx="3642619" cy="2743198"/>
              <a:chOff x="2848492" y="847041"/>
              <a:chExt cx="7214368" cy="5433026"/>
            </a:xfrm>
          </p:grpSpPr>
          <p:grpSp>
            <p:nvGrpSpPr>
              <p:cNvPr id="94" name="Gruppieren 93"/>
              <p:cNvGrpSpPr/>
              <p:nvPr/>
            </p:nvGrpSpPr>
            <p:grpSpPr>
              <a:xfrm>
                <a:off x="4182916" y="847041"/>
                <a:ext cx="4618184" cy="3605386"/>
                <a:chOff x="4182916" y="847041"/>
                <a:chExt cx="4618184" cy="3605386"/>
              </a:xfrm>
            </p:grpSpPr>
            <p:sp>
              <p:nvSpPr>
                <p:cNvPr id="118" name="Freeform 28"/>
                <p:cNvSpPr>
                  <a:spLocks/>
                </p:cNvSpPr>
                <p:nvPr/>
              </p:nvSpPr>
              <p:spPr bwMode="auto">
                <a:xfrm>
                  <a:off x="4182916" y="847041"/>
                  <a:ext cx="4618184" cy="3605386"/>
                </a:xfrm>
                <a:custGeom>
                  <a:avLst/>
                  <a:gdLst>
                    <a:gd name="T0" fmla="*/ 389 w 389"/>
                    <a:gd name="T1" fmla="*/ 263 h 275"/>
                    <a:gd name="T2" fmla="*/ 377 w 389"/>
                    <a:gd name="T3" fmla="*/ 275 h 275"/>
                    <a:gd name="T4" fmla="*/ 12 w 389"/>
                    <a:gd name="T5" fmla="*/ 275 h 275"/>
                    <a:gd name="T6" fmla="*/ 0 w 389"/>
                    <a:gd name="T7" fmla="*/ 263 h 275"/>
                    <a:gd name="T8" fmla="*/ 0 w 389"/>
                    <a:gd name="T9" fmla="*/ 12 h 275"/>
                    <a:gd name="T10" fmla="*/ 12 w 389"/>
                    <a:gd name="T11" fmla="*/ 0 h 275"/>
                    <a:gd name="T12" fmla="*/ 377 w 389"/>
                    <a:gd name="T13" fmla="*/ 0 h 275"/>
                    <a:gd name="T14" fmla="*/ 389 w 389"/>
                    <a:gd name="T15" fmla="*/ 12 h 275"/>
                    <a:gd name="T16" fmla="*/ 389 w 389"/>
                    <a:gd name="T17" fmla="*/ 263 h 2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89" h="275">
                      <a:moveTo>
                        <a:pt x="389" y="263"/>
                      </a:moveTo>
                      <a:cubicBezTo>
                        <a:pt x="389" y="270"/>
                        <a:pt x="384" y="275"/>
                        <a:pt x="377" y="275"/>
                      </a:cubicBezTo>
                      <a:cubicBezTo>
                        <a:pt x="12" y="275"/>
                        <a:pt x="12" y="275"/>
                        <a:pt x="12" y="275"/>
                      </a:cubicBezTo>
                      <a:cubicBezTo>
                        <a:pt x="5" y="275"/>
                        <a:pt x="0" y="270"/>
                        <a:pt x="0" y="263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377" y="0"/>
                        <a:pt x="377" y="0"/>
                        <a:pt x="377" y="0"/>
                      </a:cubicBezTo>
                      <a:cubicBezTo>
                        <a:pt x="384" y="0"/>
                        <a:pt x="389" y="5"/>
                        <a:pt x="389" y="12"/>
                      </a:cubicBezTo>
                      <a:lnTo>
                        <a:pt x="389" y="263"/>
                      </a:lnTo>
                      <a:close/>
                    </a:path>
                  </a:pathLst>
                </a:custGeom>
                <a:solidFill>
                  <a:srgbClr val="1F1F1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9" name="Freeform 29"/>
                <p:cNvSpPr>
                  <a:spLocks/>
                </p:cNvSpPr>
                <p:nvPr/>
              </p:nvSpPr>
              <p:spPr bwMode="auto">
                <a:xfrm>
                  <a:off x="4504532" y="1190940"/>
                  <a:ext cx="3929727" cy="2895402"/>
                </a:xfrm>
                <a:custGeom>
                  <a:avLst/>
                  <a:gdLst>
                    <a:gd name="T0" fmla="*/ 782 w 782"/>
                    <a:gd name="T1" fmla="*/ 522 h 522"/>
                    <a:gd name="T2" fmla="*/ 782 w 782"/>
                    <a:gd name="T3" fmla="*/ 522 h 522"/>
                    <a:gd name="T4" fmla="*/ 0 w 782"/>
                    <a:gd name="T5" fmla="*/ 522 h 522"/>
                    <a:gd name="T6" fmla="*/ 0 w 782"/>
                    <a:gd name="T7" fmla="*/ 522 h 522"/>
                    <a:gd name="T8" fmla="*/ 0 w 782"/>
                    <a:gd name="T9" fmla="*/ 0 h 522"/>
                    <a:gd name="T10" fmla="*/ 0 w 782"/>
                    <a:gd name="T11" fmla="*/ 0 h 522"/>
                    <a:gd name="T12" fmla="*/ 782 w 782"/>
                    <a:gd name="T13" fmla="*/ 0 h 522"/>
                    <a:gd name="T14" fmla="*/ 782 w 782"/>
                    <a:gd name="T15" fmla="*/ 0 h 522"/>
                    <a:gd name="T16" fmla="*/ 782 w 782"/>
                    <a:gd name="T17" fmla="*/ 522 h 5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82" h="522">
                      <a:moveTo>
                        <a:pt x="782" y="522"/>
                      </a:moveTo>
                      <a:lnTo>
                        <a:pt x="782" y="522"/>
                      </a:lnTo>
                      <a:lnTo>
                        <a:pt x="0" y="522"/>
                      </a:lnTo>
                      <a:lnTo>
                        <a:pt x="0" y="52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782" y="0"/>
                      </a:lnTo>
                      <a:lnTo>
                        <a:pt x="782" y="0"/>
                      </a:lnTo>
                      <a:lnTo>
                        <a:pt x="782" y="522"/>
                      </a:lnTo>
                      <a:close/>
                    </a:path>
                  </a:pathLst>
                </a:custGeom>
                <a:solidFill>
                  <a:srgbClr val="ABB8B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grpSp>
              <p:nvGrpSpPr>
                <p:cNvPr id="120" name="Gruppieren 119"/>
                <p:cNvGrpSpPr/>
                <p:nvPr/>
              </p:nvGrpSpPr>
              <p:grpSpPr>
                <a:xfrm>
                  <a:off x="5098987" y="1751130"/>
                  <a:ext cx="2656008" cy="1656880"/>
                  <a:chOff x="431717" y="1268760"/>
                  <a:chExt cx="3057220" cy="2061932"/>
                </a:xfrm>
              </p:grpSpPr>
              <p:grpSp>
                <p:nvGrpSpPr>
                  <p:cNvPr id="156" name="Gruppieren 155"/>
                  <p:cNvGrpSpPr/>
                  <p:nvPr/>
                </p:nvGrpSpPr>
                <p:grpSpPr>
                  <a:xfrm>
                    <a:off x="724669" y="1268760"/>
                    <a:ext cx="2482584" cy="1855364"/>
                    <a:chOff x="724669" y="1268760"/>
                    <a:chExt cx="2482584" cy="1855364"/>
                  </a:xfrm>
                </p:grpSpPr>
                <p:sp>
                  <p:nvSpPr>
                    <p:cNvPr id="159" name="Freeform 8"/>
                    <p:cNvSpPr>
                      <a:spLocks/>
                    </p:cNvSpPr>
                    <p:nvPr/>
                  </p:nvSpPr>
                  <p:spPr bwMode="auto">
                    <a:xfrm>
                      <a:off x="724669" y="1268760"/>
                      <a:ext cx="2482584" cy="1855364"/>
                    </a:xfrm>
                    <a:custGeom>
                      <a:avLst/>
                      <a:gdLst>
                        <a:gd name="T0" fmla="*/ 280 w 280"/>
                        <a:gd name="T1" fmla="*/ 205 h 209"/>
                        <a:gd name="T2" fmla="*/ 276 w 280"/>
                        <a:gd name="T3" fmla="*/ 209 h 209"/>
                        <a:gd name="T4" fmla="*/ 4 w 280"/>
                        <a:gd name="T5" fmla="*/ 209 h 209"/>
                        <a:gd name="T6" fmla="*/ 0 w 280"/>
                        <a:gd name="T7" fmla="*/ 205 h 209"/>
                        <a:gd name="T8" fmla="*/ 0 w 280"/>
                        <a:gd name="T9" fmla="*/ 4 h 209"/>
                        <a:gd name="T10" fmla="*/ 4 w 280"/>
                        <a:gd name="T11" fmla="*/ 0 h 209"/>
                        <a:gd name="T12" fmla="*/ 276 w 280"/>
                        <a:gd name="T13" fmla="*/ 0 h 209"/>
                        <a:gd name="T14" fmla="*/ 280 w 280"/>
                        <a:gd name="T15" fmla="*/ 4 h 209"/>
                        <a:gd name="T16" fmla="*/ 280 w 280"/>
                        <a:gd name="T17" fmla="*/ 205 h 2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80" h="209">
                          <a:moveTo>
                            <a:pt x="280" y="205"/>
                          </a:moveTo>
                          <a:cubicBezTo>
                            <a:pt x="280" y="207"/>
                            <a:pt x="278" y="209"/>
                            <a:pt x="276" y="209"/>
                          </a:cubicBezTo>
                          <a:cubicBezTo>
                            <a:pt x="4" y="209"/>
                            <a:pt x="4" y="209"/>
                            <a:pt x="4" y="209"/>
                          </a:cubicBezTo>
                          <a:cubicBezTo>
                            <a:pt x="2" y="209"/>
                            <a:pt x="0" y="207"/>
                            <a:pt x="0" y="205"/>
                          </a:cubicBezTo>
                          <a:cubicBezTo>
                            <a:pt x="0" y="4"/>
                            <a:pt x="0" y="4"/>
                            <a:pt x="0" y="4"/>
                          </a:cubicBezTo>
                          <a:cubicBezTo>
                            <a:pt x="0" y="2"/>
                            <a:pt x="2" y="0"/>
                            <a:pt x="4" y="0"/>
                          </a:cubicBezTo>
                          <a:cubicBezTo>
                            <a:pt x="276" y="0"/>
                            <a:pt x="276" y="0"/>
                            <a:pt x="276" y="0"/>
                          </a:cubicBezTo>
                          <a:cubicBezTo>
                            <a:pt x="278" y="0"/>
                            <a:pt x="280" y="2"/>
                            <a:pt x="280" y="4"/>
                          </a:cubicBezTo>
                          <a:lnTo>
                            <a:pt x="280" y="205"/>
                          </a:lnTo>
                          <a:close/>
                        </a:path>
                      </a:pathLst>
                    </a:custGeom>
                    <a:solidFill>
                      <a:srgbClr val="2D3E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60" name="Freeform 9"/>
                    <p:cNvSpPr>
                      <a:spLocks/>
                    </p:cNvSpPr>
                    <p:nvPr/>
                  </p:nvSpPr>
                  <p:spPr bwMode="auto">
                    <a:xfrm>
                      <a:off x="784762" y="1411480"/>
                      <a:ext cx="2351130" cy="1626259"/>
                    </a:xfrm>
                    <a:custGeom>
                      <a:avLst/>
                      <a:gdLst>
                        <a:gd name="T0" fmla="*/ 265 w 265"/>
                        <a:gd name="T1" fmla="*/ 179 h 183"/>
                        <a:gd name="T2" fmla="*/ 261 w 265"/>
                        <a:gd name="T3" fmla="*/ 183 h 183"/>
                        <a:gd name="T4" fmla="*/ 4 w 265"/>
                        <a:gd name="T5" fmla="*/ 183 h 183"/>
                        <a:gd name="T6" fmla="*/ 0 w 265"/>
                        <a:gd name="T7" fmla="*/ 179 h 183"/>
                        <a:gd name="T8" fmla="*/ 0 w 265"/>
                        <a:gd name="T9" fmla="*/ 4 h 183"/>
                        <a:gd name="T10" fmla="*/ 4 w 265"/>
                        <a:gd name="T11" fmla="*/ 0 h 183"/>
                        <a:gd name="T12" fmla="*/ 261 w 265"/>
                        <a:gd name="T13" fmla="*/ 0 h 183"/>
                        <a:gd name="T14" fmla="*/ 265 w 265"/>
                        <a:gd name="T15" fmla="*/ 4 h 183"/>
                        <a:gd name="T16" fmla="*/ 265 w 265"/>
                        <a:gd name="T17" fmla="*/ 179 h 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65" h="183">
                          <a:moveTo>
                            <a:pt x="265" y="179"/>
                          </a:moveTo>
                          <a:cubicBezTo>
                            <a:pt x="265" y="182"/>
                            <a:pt x="263" y="183"/>
                            <a:pt x="261" y="183"/>
                          </a:cubicBezTo>
                          <a:cubicBezTo>
                            <a:pt x="4" y="183"/>
                            <a:pt x="4" y="183"/>
                            <a:pt x="4" y="183"/>
                          </a:cubicBezTo>
                          <a:cubicBezTo>
                            <a:pt x="1" y="183"/>
                            <a:pt x="0" y="182"/>
                            <a:pt x="0" y="179"/>
                          </a:cubicBezTo>
                          <a:cubicBezTo>
                            <a:pt x="0" y="4"/>
                            <a:pt x="0" y="4"/>
                            <a:pt x="0" y="4"/>
                          </a:cubicBezTo>
                          <a:cubicBezTo>
                            <a:pt x="0" y="2"/>
                            <a:pt x="1" y="0"/>
                            <a:pt x="4" y="0"/>
                          </a:cubicBezTo>
                          <a:cubicBezTo>
                            <a:pt x="261" y="0"/>
                            <a:pt x="261" y="0"/>
                            <a:pt x="261" y="0"/>
                          </a:cubicBezTo>
                          <a:cubicBezTo>
                            <a:pt x="263" y="0"/>
                            <a:pt x="265" y="2"/>
                            <a:pt x="265" y="4"/>
                          </a:cubicBezTo>
                          <a:lnTo>
                            <a:pt x="265" y="179"/>
                          </a:lnTo>
                          <a:close/>
                        </a:path>
                      </a:pathLst>
                    </a:custGeom>
                    <a:solidFill>
                      <a:srgbClr val="CED3D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61" name="Freeform 23"/>
                    <p:cNvSpPr>
                      <a:spLocks/>
                    </p:cNvSpPr>
                    <p:nvPr/>
                  </p:nvSpPr>
                  <p:spPr bwMode="auto">
                    <a:xfrm>
                      <a:off x="1012432" y="1411479"/>
                      <a:ext cx="2123462" cy="1626259"/>
                    </a:xfrm>
                    <a:custGeom>
                      <a:avLst/>
                      <a:gdLst>
                        <a:gd name="T0" fmla="*/ 240 w 244"/>
                        <a:gd name="T1" fmla="*/ 0 h 184"/>
                        <a:gd name="T2" fmla="*/ 148 w 244"/>
                        <a:gd name="T3" fmla="*/ 0 h 184"/>
                        <a:gd name="T4" fmla="*/ 0 w 244"/>
                        <a:gd name="T5" fmla="*/ 184 h 184"/>
                        <a:gd name="T6" fmla="*/ 240 w 244"/>
                        <a:gd name="T7" fmla="*/ 184 h 184"/>
                        <a:gd name="T8" fmla="*/ 244 w 244"/>
                        <a:gd name="T9" fmla="*/ 180 h 184"/>
                        <a:gd name="T10" fmla="*/ 244 w 244"/>
                        <a:gd name="T11" fmla="*/ 4 h 184"/>
                        <a:gd name="T12" fmla="*/ 240 w 244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44" h="184">
                          <a:moveTo>
                            <a:pt x="240" y="0"/>
                          </a:moveTo>
                          <a:cubicBezTo>
                            <a:pt x="148" y="0"/>
                            <a:pt x="148" y="0"/>
                            <a:pt x="148" y="0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240" y="184"/>
                            <a:pt x="240" y="184"/>
                            <a:pt x="240" y="184"/>
                          </a:cubicBezTo>
                          <a:cubicBezTo>
                            <a:pt x="242" y="184"/>
                            <a:pt x="244" y="182"/>
                            <a:pt x="244" y="180"/>
                          </a:cubicBezTo>
                          <a:cubicBezTo>
                            <a:pt x="244" y="4"/>
                            <a:pt x="244" y="4"/>
                            <a:pt x="244" y="4"/>
                          </a:cubicBezTo>
                          <a:cubicBezTo>
                            <a:pt x="244" y="2"/>
                            <a:pt x="242" y="0"/>
                            <a:pt x="240" y="0"/>
                          </a:cubicBezTo>
                          <a:close/>
                        </a:path>
                      </a:pathLst>
                    </a:custGeom>
                    <a:solidFill>
                      <a:srgbClr val="F3F6F7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</p:grpSp>
              <p:sp>
                <p:nvSpPr>
                  <p:cNvPr id="157" name="Freeform 10"/>
                  <p:cNvSpPr>
                    <a:spLocks/>
                  </p:cNvSpPr>
                  <p:nvPr/>
                </p:nvSpPr>
                <p:spPr bwMode="auto">
                  <a:xfrm>
                    <a:off x="439229" y="3124124"/>
                    <a:ext cx="3042197" cy="63847"/>
                  </a:xfrm>
                  <a:custGeom>
                    <a:avLst/>
                    <a:gdLst>
                      <a:gd name="T0" fmla="*/ 343 w 343"/>
                      <a:gd name="T1" fmla="*/ 3 h 7"/>
                      <a:gd name="T2" fmla="*/ 340 w 343"/>
                      <a:gd name="T3" fmla="*/ 7 h 7"/>
                      <a:gd name="T4" fmla="*/ 4 w 343"/>
                      <a:gd name="T5" fmla="*/ 7 h 7"/>
                      <a:gd name="T6" fmla="*/ 0 w 343"/>
                      <a:gd name="T7" fmla="*/ 3 h 7"/>
                      <a:gd name="T8" fmla="*/ 0 w 343"/>
                      <a:gd name="T9" fmla="*/ 3 h 7"/>
                      <a:gd name="T10" fmla="*/ 4 w 343"/>
                      <a:gd name="T11" fmla="*/ 0 h 7"/>
                      <a:gd name="T12" fmla="*/ 340 w 343"/>
                      <a:gd name="T13" fmla="*/ 0 h 7"/>
                      <a:gd name="T14" fmla="*/ 343 w 343"/>
                      <a:gd name="T15" fmla="*/ 3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43" h="7">
                        <a:moveTo>
                          <a:pt x="343" y="3"/>
                        </a:moveTo>
                        <a:cubicBezTo>
                          <a:pt x="343" y="5"/>
                          <a:pt x="341" y="7"/>
                          <a:pt x="340" y="7"/>
                        </a:cubicBezTo>
                        <a:cubicBezTo>
                          <a:pt x="4" y="7"/>
                          <a:pt x="4" y="7"/>
                          <a:pt x="4" y="7"/>
                        </a:cubicBezTo>
                        <a:cubicBezTo>
                          <a:pt x="2" y="7"/>
                          <a:pt x="0" y="5"/>
                          <a:pt x="0" y="3"/>
                        </a:cubicBezTo>
                        <a:cubicBezTo>
                          <a:pt x="0" y="3"/>
                          <a:pt x="0" y="3"/>
                          <a:pt x="0" y="3"/>
                        </a:cubicBezTo>
                        <a:cubicBezTo>
                          <a:pt x="0" y="1"/>
                          <a:pt x="2" y="0"/>
                          <a:pt x="4" y="0"/>
                        </a:cubicBezTo>
                        <a:cubicBezTo>
                          <a:pt x="340" y="0"/>
                          <a:pt x="340" y="0"/>
                          <a:pt x="340" y="0"/>
                        </a:cubicBezTo>
                        <a:cubicBezTo>
                          <a:pt x="341" y="0"/>
                          <a:pt x="343" y="1"/>
                          <a:pt x="343" y="3"/>
                        </a:cubicBezTo>
                        <a:close/>
                      </a:path>
                    </a:pathLst>
                  </a:custGeom>
                  <a:solidFill>
                    <a:srgbClr val="2D3E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158" name="Freeform 17"/>
                  <p:cNvSpPr>
                    <a:spLocks/>
                  </p:cNvSpPr>
                  <p:nvPr/>
                </p:nvSpPr>
                <p:spPr bwMode="auto">
                  <a:xfrm>
                    <a:off x="431717" y="3187972"/>
                    <a:ext cx="3057220" cy="142720"/>
                  </a:xfrm>
                  <a:custGeom>
                    <a:avLst/>
                    <a:gdLst>
                      <a:gd name="T0" fmla="*/ 5 w 345"/>
                      <a:gd name="T1" fmla="*/ 0 h 16"/>
                      <a:gd name="T2" fmla="*/ 15 w 345"/>
                      <a:gd name="T3" fmla="*/ 16 h 16"/>
                      <a:gd name="T4" fmla="*/ 333 w 345"/>
                      <a:gd name="T5" fmla="*/ 16 h 16"/>
                      <a:gd name="T6" fmla="*/ 341 w 345"/>
                      <a:gd name="T7" fmla="*/ 0 h 16"/>
                      <a:gd name="T8" fmla="*/ 5 w 345"/>
                      <a:gd name="T9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5" h="16">
                        <a:moveTo>
                          <a:pt x="5" y="0"/>
                        </a:moveTo>
                        <a:cubicBezTo>
                          <a:pt x="5" y="0"/>
                          <a:pt x="0" y="16"/>
                          <a:pt x="15" y="16"/>
                        </a:cubicBezTo>
                        <a:cubicBezTo>
                          <a:pt x="333" y="16"/>
                          <a:pt x="333" y="16"/>
                          <a:pt x="333" y="16"/>
                        </a:cubicBezTo>
                        <a:cubicBezTo>
                          <a:pt x="333" y="16"/>
                          <a:pt x="345" y="12"/>
                          <a:pt x="341" y="0"/>
                        </a:cubicBezTo>
                        <a:lnTo>
                          <a:pt x="5" y="0"/>
                        </a:lnTo>
                        <a:close/>
                      </a:path>
                    </a:pathLst>
                  </a:custGeom>
                  <a:solidFill>
                    <a:srgbClr val="2D3E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121" name="Gruppieren 120"/>
                <p:cNvGrpSpPr/>
                <p:nvPr/>
              </p:nvGrpSpPr>
              <p:grpSpPr>
                <a:xfrm>
                  <a:off x="4504532" y="2462439"/>
                  <a:ext cx="1273346" cy="746777"/>
                  <a:chOff x="4504532" y="2462439"/>
                  <a:chExt cx="1273346" cy="746777"/>
                </a:xfrm>
              </p:grpSpPr>
              <p:sp>
                <p:nvSpPr>
                  <p:cNvPr id="139" name="Freeform 29"/>
                  <p:cNvSpPr>
                    <a:spLocks/>
                  </p:cNvSpPr>
                  <p:nvPr/>
                </p:nvSpPr>
                <p:spPr bwMode="auto">
                  <a:xfrm rot="5400000" flipH="1">
                    <a:off x="5095131" y="2588223"/>
                    <a:ext cx="336951" cy="221408"/>
                  </a:xfrm>
                  <a:custGeom>
                    <a:avLst/>
                    <a:gdLst>
                      <a:gd name="T0" fmla="*/ 0 w 924"/>
                      <a:gd name="T1" fmla="*/ 208 h 352"/>
                      <a:gd name="T2" fmla="*/ 924 w 924"/>
                      <a:gd name="T3" fmla="*/ 208 h 352"/>
                      <a:gd name="T4" fmla="*/ 0 w 924"/>
                      <a:gd name="T5" fmla="*/ 208 h 3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924" h="352">
                        <a:moveTo>
                          <a:pt x="0" y="208"/>
                        </a:moveTo>
                        <a:cubicBezTo>
                          <a:pt x="0" y="208"/>
                          <a:pt x="472" y="0"/>
                          <a:pt x="924" y="208"/>
                        </a:cubicBezTo>
                        <a:cubicBezTo>
                          <a:pt x="924" y="208"/>
                          <a:pt x="464" y="352"/>
                          <a:pt x="0" y="208"/>
                        </a:cubicBezTo>
                        <a:close/>
                      </a:path>
                    </a:pathLst>
                  </a:custGeom>
                  <a:solidFill>
                    <a:srgbClr val="F9F9F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b="1" dirty="0"/>
                  </a:p>
                </p:txBody>
              </p:sp>
              <p:grpSp>
                <p:nvGrpSpPr>
                  <p:cNvPr id="140" name="Gruppieren 139"/>
                  <p:cNvGrpSpPr/>
                  <p:nvPr/>
                </p:nvGrpSpPr>
                <p:grpSpPr>
                  <a:xfrm>
                    <a:off x="5142690" y="2566057"/>
                    <a:ext cx="635188" cy="643159"/>
                    <a:chOff x="-2536178" y="2466359"/>
                    <a:chExt cx="2536177" cy="2419245"/>
                  </a:xfrm>
                </p:grpSpPr>
                <p:grpSp>
                  <p:nvGrpSpPr>
                    <p:cNvPr id="145" name="Gruppieren 144"/>
                    <p:cNvGrpSpPr/>
                    <p:nvPr/>
                  </p:nvGrpSpPr>
                  <p:grpSpPr>
                    <a:xfrm>
                      <a:off x="-1370011" y="3111860"/>
                      <a:ext cx="1123505" cy="1060296"/>
                      <a:chOff x="1990364" y="1955088"/>
                      <a:chExt cx="1123505" cy="1060296"/>
                    </a:xfrm>
                  </p:grpSpPr>
                  <p:sp>
                    <p:nvSpPr>
                      <p:cNvPr id="153" name="Freeform 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990364" y="1955088"/>
                        <a:ext cx="553060" cy="612317"/>
                      </a:xfrm>
                      <a:custGeom>
                        <a:avLst/>
                        <a:gdLst>
                          <a:gd name="T0" fmla="*/ 0 w 700"/>
                          <a:gd name="T1" fmla="*/ 147 h 775"/>
                          <a:gd name="T2" fmla="*/ 508 w 700"/>
                          <a:gd name="T3" fmla="*/ 775 h 775"/>
                          <a:gd name="T4" fmla="*/ 700 w 700"/>
                          <a:gd name="T5" fmla="*/ 662 h 775"/>
                          <a:gd name="T6" fmla="*/ 312 w 700"/>
                          <a:gd name="T7" fmla="*/ 0 h 775"/>
                          <a:gd name="T8" fmla="*/ 0 w 700"/>
                          <a:gd name="T9" fmla="*/ 147 h 77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700" h="775">
                            <a:moveTo>
                              <a:pt x="0" y="147"/>
                            </a:moveTo>
                            <a:lnTo>
                              <a:pt x="508" y="775"/>
                            </a:lnTo>
                            <a:lnTo>
                              <a:pt x="700" y="662"/>
                            </a:lnTo>
                            <a:lnTo>
                              <a:pt x="312" y="0"/>
                            </a:lnTo>
                            <a:lnTo>
                              <a:pt x="0" y="147"/>
                            </a:lnTo>
                            <a:close/>
                          </a:path>
                        </a:pathLst>
                      </a:custGeom>
                      <a:solidFill>
                        <a:srgbClr val="F0A868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154" name="Freeform 3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2016437" y="2071230"/>
                        <a:ext cx="750582" cy="638390"/>
                      </a:xfrm>
                      <a:custGeom>
                        <a:avLst/>
                        <a:gdLst>
                          <a:gd name="T0" fmla="*/ 0 w 402"/>
                          <a:gd name="T1" fmla="*/ 114 h 342"/>
                          <a:gd name="T2" fmla="*/ 84 w 402"/>
                          <a:gd name="T3" fmla="*/ 296 h 342"/>
                          <a:gd name="T4" fmla="*/ 206 w 402"/>
                          <a:gd name="T5" fmla="*/ 342 h 342"/>
                          <a:gd name="T6" fmla="*/ 402 w 402"/>
                          <a:gd name="T7" fmla="*/ 310 h 342"/>
                          <a:gd name="T8" fmla="*/ 328 w 402"/>
                          <a:gd name="T9" fmla="*/ 16 h 342"/>
                          <a:gd name="T10" fmla="*/ 114 w 402"/>
                          <a:gd name="T11" fmla="*/ 0 h 342"/>
                          <a:gd name="T12" fmla="*/ 246 w 402"/>
                          <a:gd name="T13" fmla="*/ 226 h 342"/>
                          <a:gd name="T14" fmla="*/ 224 w 402"/>
                          <a:gd name="T15" fmla="*/ 246 h 342"/>
                          <a:gd name="T16" fmla="*/ 214 w 402"/>
                          <a:gd name="T17" fmla="*/ 246 h 342"/>
                          <a:gd name="T18" fmla="*/ 64 w 402"/>
                          <a:gd name="T19" fmla="*/ 70 h 342"/>
                          <a:gd name="T20" fmla="*/ 0 w 402"/>
                          <a:gd name="T21" fmla="*/ 114 h 34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</a:cxnLst>
                        <a:rect l="0" t="0" r="r" b="b"/>
                        <a:pathLst>
                          <a:path w="402" h="342">
                            <a:moveTo>
                              <a:pt x="0" y="114"/>
                            </a:moveTo>
                            <a:cubicBezTo>
                              <a:pt x="0" y="114"/>
                              <a:pt x="0" y="248"/>
                              <a:pt x="84" y="296"/>
                            </a:cubicBezTo>
                            <a:cubicBezTo>
                              <a:pt x="206" y="342"/>
                              <a:pt x="206" y="342"/>
                              <a:pt x="206" y="342"/>
                            </a:cubicBezTo>
                            <a:cubicBezTo>
                              <a:pt x="402" y="310"/>
                              <a:pt x="402" y="310"/>
                              <a:pt x="402" y="310"/>
                            </a:cubicBezTo>
                            <a:cubicBezTo>
                              <a:pt x="328" y="16"/>
                              <a:pt x="328" y="16"/>
                              <a:pt x="328" y="16"/>
                            </a:cubicBezTo>
                            <a:cubicBezTo>
                              <a:pt x="114" y="0"/>
                              <a:pt x="114" y="0"/>
                              <a:pt x="114" y="0"/>
                            </a:cubicBezTo>
                            <a:cubicBezTo>
                              <a:pt x="114" y="0"/>
                              <a:pt x="166" y="173"/>
                              <a:pt x="246" y="226"/>
                            </a:cubicBezTo>
                            <a:cubicBezTo>
                              <a:pt x="246" y="226"/>
                              <a:pt x="244" y="242"/>
                              <a:pt x="224" y="246"/>
                            </a:cubicBezTo>
                            <a:cubicBezTo>
                              <a:pt x="204" y="250"/>
                              <a:pt x="214" y="246"/>
                              <a:pt x="214" y="246"/>
                            </a:cubicBezTo>
                            <a:cubicBezTo>
                              <a:pt x="214" y="246"/>
                              <a:pt x="120" y="52"/>
                              <a:pt x="64" y="70"/>
                            </a:cubicBezTo>
                            <a:cubicBezTo>
                              <a:pt x="8" y="88"/>
                              <a:pt x="0" y="114"/>
                              <a:pt x="0" y="114"/>
                            </a:cubicBezTo>
                            <a:close/>
                          </a:path>
                        </a:pathLst>
                      </a:custGeom>
                      <a:solidFill>
                        <a:srgbClr val="F8C080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155" name="Freeform 3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2016440" y="2141549"/>
                        <a:ext cx="1097429" cy="873835"/>
                      </a:xfrm>
                      <a:custGeom>
                        <a:avLst/>
                        <a:gdLst>
                          <a:gd name="T0" fmla="*/ 294 w 588"/>
                          <a:gd name="T1" fmla="*/ 0 h 468"/>
                          <a:gd name="T2" fmla="*/ 344 w 588"/>
                          <a:gd name="T3" fmla="*/ 178 h 468"/>
                          <a:gd name="T4" fmla="*/ 352 w 588"/>
                          <a:gd name="T5" fmla="*/ 258 h 468"/>
                          <a:gd name="T6" fmla="*/ 240 w 588"/>
                          <a:gd name="T7" fmla="*/ 288 h 468"/>
                          <a:gd name="T8" fmla="*/ 0 w 588"/>
                          <a:gd name="T9" fmla="*/ 216 h 468"/>
                          <a:gd name="T10" fmla="*/ 72 w 588"/>
                          <a:gd name="T11" fmla="*/ 322 h 468"/>
                          <a:gd name="T12" fmla="*/ 154 w 588"/>
                          <a:gd name="T13" fmla="*/ 436 h 468"/>
                          <a:gd name="T14" fmla="*/ 328 w 588"/>
                          <a:gd name="T15" fmla="*/ 456 h 468"/>
                          <a:gd name="T16" fmla="*/ 493 w 588"/>
                          <a:gd name="T17" fmla="*/ 422 h 468"/>
                          <a:gd name="T18" fmla="*/ 588 w 588"/>
                          <a:gd name="T19" fmla="*/ 320 h 468"/>
                          <a:gd name="T20" fmla="*/ 294 w 588"/>
                          <a:gd name="T21" fmla="*/ 0 h 46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</a:cxnLst>
                        <a:rect l="0" t="0" r="r" b="b"/>
                        <a:pathLst>
                          <a:path w="588" h="468">
                            <a:moveTo>
                              <a:pt x="294" y="0"/>
                            </a:moveTo>
                            <a:cubicBezTo>
                              <a:pt x="294" y="0"/>
                              <a:pt x="298" y="152"/>
                              <a:pt x="344" y="178"/>
                            </a:cubicBezTo>
                            <a:cubicBezTo>
                              <a:pt x="344" y="178"/>
                              <a:pt x="332" y="230"/>
                              <a:pt x="352" y="258"/>
                            </a:cubicBezTo>
                            <a:cubicBezTo>
                              <a:pt x="352" y="258"/>
                              <a:pt x="246" y="260"/>
                              <a:pt x="240" y="288"/>
                            </a:cubicBezTo>
                            <a:cubicBezTo>
                              <a:pt x="240" y="288"/>
                              <a:pt x="74" y="78"/>
                              <a:pt x="0" y="216"/>
                            </a:cubicBezTo>
                            <a:cubicBezTo>
                              <a:pt x="0" y="216"/>
                              <a:pt x="20" y="282"/>
                              <a:pt x="72" y="322"/>
                            </a:cubicBezTo>
                            <a:cubicBezTo>
                              <a:pt x="72" y="322"/>
                              <a:pt x="136" y="428"/>
                              <a:pt x="154" y="436"/>
                            </a:cubicBezTo>
                            <a:cubicBezTo>
                              <a:pt x="154" y="436"/>
                              <a:pt x="246" y="468"/>
                              <a:pt x="328" y="456"/>
                            </a:cubicBezTo>
                            <a:cubicBezTo>
                              <a:pt x="328" y="456"/>
                              <a:pt x="459" y="440"/>
                              <a:pt x="493" y="422"/>
                            </a:cubicBezTo>
                            <a:cubicBezTo>
                              <a:pt x="493" y="422"/>
                              <a:pt x="574" y="392"/>
                              <a:pt x="588" y="320"/>
                            </a:cubicBezTo>
                            <a:lnTo>
                              <a:pt x="294" y="0"/>
                            </a:lnTo>
                            <a:close/>
                          </a:path>
                        </a:pathLst>
                      </a:custGeom>
                      <a:solidFill>
                        <a:srgbClr val="F8C080"/>
                      </a:solidFill>
                      <a:ln w="3175">
                        <a:solidFill>
                          <a:srgbClr val="F0A868"/>
                        </a:solidFill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dirty="0"/>
                      </a:p>
                    </p:txBody>
                  </p:sp>
                </p:grpSp>
                <p:sp>
                  <p:nvSpPr>
                    <p:cNvPr id="146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-2536178" y="2466359"/>
                      <a:ext cx="2536177" cy="2419245"/>
                    </a:xfrm>
                    <a:custGeom>
                      <a:avLst/>
                      <a:gdLst>
                        <a:gd name="T0" fmla="*/ 0 w 1359"/>
                        <a:gd name="T1" fmla="*/ 0 h 1296"/>
                        <a:gd name="T2" fmla="*/ 677 w 1359"/>
                        <a:gd name="T3" fmla="*/ 79 h 1296"/>
                        <a:gd name="T4" fmla="*/ 1005 w 1359"/>
                        <a:gd name="T5" fmla="*/ 146 h 1296"/>
                        <a:gd name="T6" fmla="*/ 1213 w 1359"/>
                        <a:gd name="T7" fmla="*/ 328 h 1296"/>
                        <a:gd name="T8" fmla="*/ 1313 w 1359"/>
                        <a:gd name="T9" fmla="*/ 654 h 1296"/>
                        <a:gd name="T10" fmla="*/ 1336 w 1359"/>
                        <a:gd name="T11" fmla="*/ 824 h 1296"/>
                        <a:gd name="T12" fmla="*/ 1353 w 1359"/>
                        <a:gd name="T13" fmla="*/ 990 h 1296"/>
                        <a:gd name="T14" fmla="*/ 1336 w 1359"/>
                        <a:gd name="T15" fmla="*/ 1148 h 1296"/>
                        <a:gd name="T16" fmla="*/ 1321 w 1359"/>
                        <a:gd name="T17" fmla="*/ 1258 h 1296"/>
                        <a:gd name="T18" fmla="*/ 1241 w 1359"/>
                        <a:gd name="T19" fmla="*/ 1228 h 1296"/>
                        <a:gd name="T20" fmla="*/ 1213 w 1359"/>
                        <a:gd name="T21" fmla="*/ 1134 h 1296"/>
                        <a:gd name="T22" fmla="*/ 1213 w 1359"/>
                        <a:gd name="T23" fmla="*/ 1020 h 1296"/>
                        <a:gd name="T24" fmla="*/ 1169 w 1359"/>
                        <a:gd name="T25" fmla="*/ 812 h 1296"/>
                        <a:gd name="T26" fmla="*/ 1039 w 1359"/>
                        <a:gd name="T27" fmla="*/ 486 h 1296"/>
                        <a:gd name="T28" fmla="*/ 827 w 1359"/>
                        <a:gd name="T29" fmla="*/ 450 h 1296"/>
                        <a:gd name="T30" fmla="*/ 231 w 1359"/>
                        <a:gd name="T31" fmla="*/ 524 h 1296"/>
                        <a:gd name="T32" fmla="*/ 0 w 1359"/>
                        <a:gd name="T33" fmla="*/ 402 h 1296"/>
                        <a:gd name="T34" fmla="*/ 0 w 1359"/>
                        <a:gd name="T35" fmla="*/ 0 h 12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1359" h="1296">
                          <a:moveTo>
                            <a:pt x="0" y="0"/>
                          </a:moveTo>
                          <a:cubicBezTo>
                            <a:pt x="0" y="0"/>
                            <a:pt x="370" y="32"/>
                            <a:pt x="677" y="79"/>
                          </a:cubicBezTo>
                          <a:cubicBezTo>
                            <a:pt x="810" y="99"/>
                            <a:pt x="931" y="122"/>
                            <a:pt x="1005" y="146"/>
                          </a:cubicBezTo>
                          <a:cubicBezTo>
                            <a:pt x="1005" y="146"/>
                            <a:pt x="1193" y="128"/>
                            <a:pt x="1213" y="328"/>
                          </a:cubicBezTo>
                          <a:cubicBezTo>
                            <a:pt x="1213" y="328"/>
                            <a:pt x="1311" y="518"/>
                            <a:pt x="1313" y="654"/>
                          </a:cubicBezTo>
                          <a:cubicBezTo>
                            <a:pt x="1313" y="654"/>
                            <a:pt x="1337" y="772"/>
                            <a:pt x="1336" y="824"/>
                          </a:cubicBezTo>
                          <a:cubicBezTo>
                            <a:pt x="1336" y="824"/>
                            <a:pt x="1359" y="968"/>
                            <a:pt x="1353" y="990"/>
                          </a:cubicBezTo>
                          <a:cubicBezTo>
                            <a:pt x="1353" y="990"/>
                            <a:pt x="1355" y="1100"/>
                            <a:pt x="1336" y="1148"/>
                          </a:cubicBezTo>
                          <a:cubicBezTo>
                            <a:pt x="1336" y="1148"/>
                            <a:pt x="1343" y="1212"/>
                            <a:pt x="1321" y="1258"/>
                          </a:cubicBezTo>
                          <a:cubicBezTo>
                            <a:pt x="1321" y="1258"/>
                            <a:pt x="1263" y="1296"/>
                            <a:pt x="1241" y="1228"/>
                          </a:cubicBezTo>
                          <a:cubicBezTo>
                            <a:pt x="1241" y="1228"/>
                            <a:pt x="1191" y="1184"/>
                            <a:pt x="1213" y="1134"/>
                          </a:cubicBezTo>
                          <a:cubicBezTo>
                            <a:pt x="1213" y="1134"/>
                            <a:pt x="1187" y="1039"/>
                            <a:pt x="1213" y="1020"/>
                          </a:cubicBezTo>
                          <a:cubicBezTo>
                            <a:pt x="1213" y="1020"/>
                            <a:pt x="1149" y="978"/>
                            <a:pt x="1169" y="812"/>
                          </a:cubicBezTo>
                          <a:cubicBezTo>
                            <a:pt x="1169" y="812"/>
                            <a:pt x="1031" y="612"/>
                            <a:pt x="1039" y="486"/>
                          </a:cubicBezTo>
                          <a:cubicBezTo>
                            <a:pt x="1039" y="486"/>
                            <a:pt x="849" y="518"/>
                            <a:pt x="827" y="450"/>
                          </a:cubicBezTo>
                          <a:cubicBezTo>
                            <a:pt x="827" y="450"/>
                            <a:pt x="595" y="738"/>
                            <a:pt x="231" y="524"/>
                          </a:cubicBezTo>
                          <a:cubicBezTo>
                            <a:pt x="231" y="524"/>
                            <a:pt x="76" y="434"/>
                            <a:pt x="0" y="402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8C080"/>
                    </a:solidFill>
                    <a:ln w="3175">
                      <a:solidFill>
                        <a:srgbClr val="F0A868"/>
                      </a:solidFill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47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-1343938" y="3679142"/>
                      <a:ext cx="190411" cy="228335"/>
                    </a:xfrm>
                    <a:custGeom>
                      <a:avLst/>
                      <a:gdLst>
                        <a:gd name="T0" fmla="*/ 102 w 102"/>
                        <a:gd name="T1" fmla="*/ 100 h 122"/>
                        <a:gd name="T2" fmla="*/ 60 w 102"/>
                        <a:gd name="T3" fmla="*/ 14 h 122"/>
                        <a:gd name="T4" fmla="*/ 0 w 102"/>
                        <a:gd name="T5" fmla="*/ 12 h 122"/>
                        <a:gd name="T6" fmla="*/ 72 w 102"/>
                        <a:gd name="T7" fmla="*/ 118 h 122"/>
                        <a:gd name="T8" fmla="*/ 102 w 102"/>
                        <a:gd name="T9" fmla="*/ 100 h 1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2" h="122">
                          <a:moveTo>
                            <a:pt x="102" y="100"/>
                          </a:moveTo>
                          <a:cubicBezTo>
                            <a:pt x="102" y="100"/>
                            <a:pt x="68" y="18"/>
                            <a:pt x="60" y="14"/>
                          </a:cubicBezTo>
                          <a:cubicBezTo>
                            <a:pt x="60" y="14"/>
                            <a:pt x="42" y="0"/>
                            <a:pt x="0" y="12"/>
                          </a:cubicBezTo>
                          <a:cubicBezTo>
                            <a:pt x="0" y="12"/>
                            <a:pt x="14" y="78"/>
                            <a:pt x="72" y="118"/>
                          </a:cubicBezTo>
                          <a:cubicBezTo>
                            <a:pt x="72" y="118"/>
                            <a:pt x="86" y="122"/>
                            <a:pt x="102" y="100"/>
                          </a:cubicBezTo>
                          <a:close/>
                        </a:path>
                      </a:pathLst>
                    </a:custGeom>
                    <a:solidFill>
                      <a:srgbClr val="F9C998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48" name="Freeform 35"/>
                    <p:cNvSpPr>
                      <a:spLocks/>
                    </p:cNvSpPr>
                    <p:nvPr/>
                  </p:nvSpPr>
                  <p:spPr bwMode="auto">
                    <a:xfrm>
                      <a:off x="-102712" y="4609073"/>
                      <a:ext cx="76639" cy="173819"/>
                    </a:xfrm>
                    <a:custGeom>
                      <a:avLst/>
                      <a:gdLst>
                        <a:gd name="T0" fmla="*/ 1 w 41"/>
                        <a:gd name="T1" fmla="*/ 16 h 93"/>
                        <a:gd name="T2" fmla="*/ 24 w 41"/>
                        <a:gd name="T3" fmla="*/ 93 h 93"/>
                        <a:gd name="T4" fmla="*/ 32 w 41"/>
                        <a:gd name="T5" fmla="*/ 0 h 93"/>
                        <a:gd name="T6" fmla="*/ 1 w 41"/>
                        <a:gd name="T7" fmla="*/ 16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41" h="93">
                          <a:moveTo>
                            <a:pt x="1" y="16"/>
                          </a:moveTo>
                          <a:cubicBezTo>
                            <a:pt x="1" y="16"/>
                            <a:pt x="2" y="80"/>
                            <a:pt x="24" y="93"/>
                          </a:cubicBezTo>
                          <a:cubicBezTo>
                            <a:pt x="24" y="93"/>
                            <a:pt x="41" y="26"/>
                            <a:pt x="32" y="0"/>
                          </a:cubicBezTo>
                          <a:cubicBezTo>
                            <a:pt x="32" y="0"/>
                            <a:pt x="0" y="2"/>
                            <a:pt x="1" y="16"/>
                          </a:cubicBezTo>
                          <a:close/>
                        </a:path>
                      </a:pathLst>
                    </a:custGeom>
                    <a:solidFill>
                      <a:srgbClr val="F9C998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49" name="Freeform 36"/>
                    <p:cNvSpPr>
                      <a:spLocks/>
                    </p:cNvSpPr>
                    <p:nvPr/>
                  </p:nvSpPr>
                  <p:spPr bwMode="auto">
                    <a:xfrm>
                      <a:off x="-940204" y="3828468"/>
                      <a:ext cx="41084" cy="91650"/>
                    </a:xfrm>
                    <a:custGeom>
                      <a:avLst/>
                      <a:gdLst>
                        <a:gd name="T0" fmla="*/ 12 w 22"/>
                        <a:gd name="T1" fmla="*/ 5 h 49"/>
                        <a:gd name="T2" fmla="*/ 2 w 22"/>
                        <a:gd name="T3" fmla="*/ 46 h 49"/>
                        <a:gd name="T4" fmla="*/ 10 w 22"/>
                        <a:gd name="T5" fmla="*/ 46 h 49"/>
                        <a:gd name="T6" fmla="*/ 20 w 22"/>
                        <a:gd name="T7" fmla="*/ 3 h 49"/>
                        <a:gd name="T8" fmla="*/ 12 w 22"/>
                        <a:gd name="T9" fmla="*/ 5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2" h="49">
                          <a:moveTo>
                            <a:pt x="12" y="5"/>
                          </a:moveTo>
                          <a:cubicBezTo>
                            <a:pt x="14" y="19"/>
                            <a:pt x="10" y="33"/>
                            <a:pt x="2" y="46"/>
                          </a:cubicBezTo>
                          <a:cubicBezTo>
                            <a:pt x="0" y="49"/>
                            <a:pt x="8" y="48"/>
                            <a:pt x="10" y="46"/>
                          </a:cubicBezTo>
                          <a:cubicBezTo>
                            <a:pt x="18" y="33"/>
                            <a:pt x="22" y="18"/>
                            <a:pt x="20" y="3"/>
                          </a:cubicBezTo>
                          <a:cubicBezTo>
                            <a:pt x="20" y="0"/>
                            <a:pt x="12" y="2"/>
                            <a:pt x="12" y="5"/>
                          </a:cubicBezTo>
                          <a:close/>
                        </a:path>
                      </a:pathLst>
                    </a:custGeom>
                    <a:solidFill>
                      <a:srgbClr val="F0A868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50" name="Freeform 37"/>
                    <p:cNvSpPr>
                      <a:spLocks/>
                    </p:cNvSpPr>
                    <p:nvPr/>
                  </p:nvSpPr>
                  <p:spPr bwMode="auto">
                    <a:xfrm>
                      <a:off x="-700017" y="3780273"/>
                      <a:ext cx="183300" cy="109822"/>
                    </a:xfrm>
                    <a:custGeom>
                      <a:avLst/>
                      <a:gdLst>
                        <a:gd name="T0" fmla="*/ 2 w 98"/>
                        <a:gd name="T1" fmla="*/ 3 h 59"/>
                        <a:gd name="T2" fmla="*/ 89 w 98"/>
                        <a:gd name="T3" fmla="*/ 57 h 59"/>
                        <a:gd name="T4" fmla="*/ 97 w 98"/>
                        <a:gd name="T5" fmla="*/ 55 h 59"/>
                        <a:gd name="T6" fmla="*/ 8 w 98"/>
                        <a:gd name="T7" fmla="*/ 0 h 59"/>
                        <a:gd name="T8" fmla="*/ 2 w 98"/>
                        <a:gd name="T9" fmla="*/ 3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8" h="59">
                          <a:moveTo>
                            <a:pt x="2" y="3"/>
                          </a:moveTo>
                          <a:cubicBezTo>
                            <a:pt x="37" y="12"/>
                            <a:pt x="63" y="33"/>
                            <a:pt x="89" y="57"/>
                          </a:cubicBezTo>
                          <a:cubicBezTo>
                            <a:pt x="91" y="59"/>
                            <a:pt x="98" y="56"/>
                            <a:pt x="97" y="55"/>
                          </a:cubicBezTo>
                          <a:cubicBezTo>
                            <a:pt x="70" y="30"/>
                            <a:pt x="43" y="9"/>
                            <a:pt x="8" y="0"/>
                          </a:cubicBezTo>
                          <a:cubicBezTo>
                            <a:pt x="6" y="0"/>
                            <a:pt x="0" y="3"/>
                            <a:pt x="2" y="3"/>
                          </a:cubicBezTo>
                          <a:close/>
                        </a:path>
                      </a:pathLst>
                    </a:custGeom>
                    <a:solidFill>
                      <a:srgbClr val="F0A868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51" name="Freeform 39"/>
                    <p:cNvSpPr>
                      <a:spLocks/>
                    </p:cNvSpPr>
                    <p:nvPr/>
                  </p:nvSpPr>
                  <p:spPr bwMode="auto">
                    <a:xfrm>
                      <a:off x="-1244153" y="2641758"/>
                      <a:ext cx="1018421" cy="1272829"/>
                    </a:xfrm>
                    <a:custGeom>
                      <a:avLst/>
                      <a:gdLst>
                        <a:gd name="T0" fmla="*/ 0 w 546"/>
                        <a:gd name="T1" fmla="*/ 0 h 682"/>
                        <a:gd name="T2" fmla="*/ 484 w 546"/>
                        <a:gd name="T3" fmla="*/ 188 h 682"/>
                        <a:gd name="T4" fmla="*/ 510 w 546"/>
                        <a:gd name="T5" fmla="*/ 384 h 682"/>
                        <a:gd name="T6" fmla="*/ 512 w 546"/>
                        <a:gd name="T7" fmla="*/ 428 h 682"/>
                        <a:gd name="T8" fmla="*/ 521 w 546"/>
                        <a:gd name="T9" fmla="*/ 578 h 682"/>
                        <a:gd name="T10" fmla="*/ 346 w 546"/>
                        <a:gd name="T11" fmla="*/ 516 h 682"/>
                        <a:gd name="T12" fmla="*/ 290 w 546"/>
                        <a:gd name="T13" fmla="*/ 412 h 682"/>
                        <a:gd name="T14" fmla="*/ 108 w 546"/>
                        <a:gd name="T15" fmla="*/ 350 h 68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46" h="682">
                          <a:moveTo>
                            <a:pt x="0" y="0"/>
                          </a:moveTo>
                          <a:cubicBezTo>
                            <a:pt x="0" y="0"/>
                            <a:pt x="458" y="156"/>
                            <a:pt x="484" y="188"/>
                          </a:cubicBezTo>
                          <a:cubicBezTo>
                            <a:pt x="484" y="188"/>
                            <a:pt x="546" y="232"/>
                            <a:pt x="510" y="384"/>
                          </a:cubicBezTo>
                          <a:cubicBezTo>
                            <a:pt x="510" y="384"/>
                            <a:pt x="508" y="418"/>
                            <a:pt x="512" y="428"/>
                          </a:cubicBezTo>
                          <a:cubicBezTo>
                            <a:pt x="512" y="428"/>
                            <a:pt x="532" y="548"/>
                            <a:pt x="521" y="578"/>
                          </a:cubicBezTo>
                          <a:cubicBezTo>
                            <a:pt x="521" y="578"/>
                            <a:pt x="422" y="682"/>
                            <a:pt x="346" y="516"/>
                          </a:cubicBezTo>
                          <a:cubicBezTo>
                            <a:pt x="346" y="516"/>
                            <a:pt x="288" y="478"/>
                            <a:pt x="290" y="412"/>
                          </a:cubicBezTo>
                          <a:cubicBezTo>
                            <a:pt x="290" y="412"/>
                            <a:pt x="142" y="416"/>
                            <a:pt x="108" y="350"/>
                          </a:cubicBezTo>
                        </a:path>
                      </a:pathLst>
                    </a:custGeom>
                    <a:solidFill>
                      <a:srgbClr val="F8C080"/>
                    </a:solidFill>
                    <a:ln w="3175" cap="flat">
                      <a:solidFill>
                        <a:srgbClr val="F0A868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52" name="Freeform 40"/>
                    <p:cNvSpPr>
                      <a:spLocks/>
                    </p:cNvSpPr>
                    <p:nvPr/>
                  </p:nvSpPr>
                  <p:spPr bwMode="auto">
                    <a:xfrm>
                      <a:off x="-459041" y="3440536"/>
                      <a:ext cx="190411" cy="283641"/>
                    </a:xfrm>
                    <a:custGeom>
                      <a:avLst/>
                      <a:gdLst>
                        <a:gd name="T0" fmla="*/ 88 w 102"/>
                        <a:gd name="T1" fmla="*/ 0 h 152"/>
                        <a:gd name="T2" fmla="*/ 24 w 102"/>
                        <a:gd name="T3" fmla="*/ 56 h 152"/>
                        <a:gd name="T4" fmla="*/ 56 w 102"/>
                        <a:gd name="T5" fmla="*/ 152 h 152"/>
                        <a:gd name="T6" fmla="*/ 101 w 102"/>
                        <a:gd name="T7" fmla="*/ 124 h 152"/>
                        <a:gd name="T8" fmla="*/ 88 w 102"/>
                        <a:gd name="T9" fmla="*/ 0 h 1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2" h="152">
                          <a:moveTo>
                            <a:pt x="88" y="0"/>
                          </a:moveTo>
                          <a:cubicBezTo>
                            <a:pt x="88" y="0"/>
                            <a:pt x="22" y="40"/>
                            <a:pt x="24" y="56"/>
                          </a:cubicBezTo>
                          <a:cubicBezTo>
                            <a:pt x="24" y="56"/>
                            <a:pt x="0" y="134"/>
                            <a:pt x="56" y="152"/>
                          </a:cubicBezTo>
                          <a:cubicBezTo>
                            <a:pt x="56" y="152"/>
                            <a:pt x="101" y="142"/>
                            <a:pt x="101" y="124"/>
                          </a:cubicBezTo>
                          <a:cubicBezTo>
                            <a:pt x="101" y="124"/>
                            <a:pt x="102" y="26"/>
                            <a:pt x="88" y="0"/>
                          </a:cubicBezTo>
                          <a:close/>
                        </a:path>
                      </a:pathLst>
                    </a:custGeom>
                    <a:solidFill>
                      <a:srgbClr val="F9C998"/>
                    </a:solidFill>
                    <a:ln w="15875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</p:grpSp>
              <p:grpSp>
                <p:nvGrpSpPr>
                  <p:cNvPr id="141" name="Gruppieren 140"/>
                  <p:cNvGrpSpPr/>
                  <p:nvPr/>
                </p:nvGrpSpPr>
                <p:grpSpPr>
                  <a:xfrm rot="5400000" flipV="1">
                    <a:off x="4648383" y="2318588"/>
                    <a:ext cx="462996" cy="750697"/>
                    <a:chOff x="1691681" y="2636911"/>
                    <a:chExt cx="1162257" cy="1525462"/>
                  </a:xfrm>
                </p:grpSpPr>
                <p:sp>
                  <p:nvSpPr>
                    <p:cNvPr id="142" name="Freeform 31"/>
                    <p:cNvSpPr>
                      <a:spLocks/>
                    </p:cNvSpPr>
                    <p:nvPr/>
                  </p:nvSpPr>
                  <p:spPr bwMode="auto">
                    <a:xfrm rot="189794" flipH="1" flipV="1">
                      <a:off x="1792402" y="3824436"/>
                      <a:ext cx="949444" cy="139560"/>
                    </a:xfrm>
                    <a:custGeom>
                      <a:avLst/>
                      <a:gdLst>
                        <a:gd name="T0" fmla="*/ 0 w 158"/>
                        <a:gd name="T1" fmla="*/ 14 h 44"/>
                        <a:gd name="T2" fmla="*/ 158 w 158"/>
                        <a:gd name="T3" fmla="*/ 16 h 44"/>
                        <a:gd name="T4" fmla="*/ 0 w 158"/>
                        <a:gd name="T5" fmla="*/ 14 h 44"/>
                        <a:gd name="connsiteX0" fmla="*/ 0 w 9926"/>
                        <a:gd name="connsiteY0" fmla="*/ 2106 h 4978"/>
                        <a:gd name="connsiteX1" fmla="*/ 9926 w 9926"/>
                        <a:gd name="connsiteY1" fmla="*/ 1466 h 4978"/>
                        <a:gd name="connsiteX2" fmla="*/ 0 w 9926"/>
                        <a:gd name="connsiteY2" fmla="*/ 2106 h 4978"/>
                        <a:gd name="connsiteX0" fmla="*/ 0 w 10158"/>
                        <a:gd name="connsiteY0" fmla="*/ 5169 h 10678"/>
                        <a:gd name="connsiteX1" fmla="*/ 10158 w 10158"/>
                        <a:gd name="connsiteY1" fmla="*/ 2713 h 10678"/>
                        <a:gd name="connsiteX2" fmla="*/ 0 w 10158"/>
                        <a:gd name="connsiteY2" fmla="*/ 5169 h 1067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10158" h="10678">
                          <a:moveTo>
                            <a:pt x="0" y="5169"/>
                          </a:moveTo>
                          <a:cubicBezTo>
                            <a:pt x="0" y="5169"/>
                            <a:pt x="6842" y="-4591"/>
                            <a:pt x="10158" y="2713"/>
                          </a:cubicBezTo>
                          <a:cubicBezTo>
                            <a:pt x="10158" y="2713"/>
                            <a:pt x="5292" y="18865"/>
                            <a:pt x="0" y="5169"/>
                          </a:cubicBezTo>
                          <a:close/>
                        </a:path>
                      </a:pathLst>
                    </a:custGeom>
                    <a:solidFill>
                      <a:srgbClr val="282829"/>
                    </a:solidFill>
                    <a:ln w="15875" cap="flat">
                      <a:solidFill>
                        <a:srgbClr val="282829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43" name="Freeform 32"/>
                    <p:cNvSpPr>
                      <a:spLocks/>
                    </p:cNvSpPr>
                    <p:nvPr/>
                  </p:nvSpPr>
                  <p:spPr bwMode="auto">
                    <a:xfrm flipH="1" flipV="1">
                      <a:off x="1822561" y="3836834"/>
                      <a:ext cx="895907" cy="325539"/>
                    </a:xfrm>
                    <a:custGeom>
                      <a:avLst/>
                      <a:gdLst>
                        <a:gd name="T0" fmla="*/ 2 w 141"/>
                        <a:gd name="T1" fmla="*/ 1 h 51"/>
                        <a:gd name="T2" fmla="*/ 137 w 141"/>
                        <a:gd name="T3" fmla="*/ 0 h 51"/>
                        <a:gd name="T4" fmla="*/ 139 w 141"/>
                        <a:gd name="T5" fmla="*/ 38 h 51"/>
                        <a:gd name="T6" fmla="*/ 141 w 141"/>
                        <a:gd name="T7" fmla="*/ 50 h 51"/>
                        <a:gd name="T8" fmla="*/ 2 w 141"/>
                        <a:gd name="T9" fmla="*/ 51 h 51"/>
                        <a:gd name="T10" fmla="*/ 0 w 141"/>
                        <a:gd name="T11" fmla="*/ 51 h 51"/>
                        <a:gd name="T12" fmla="*/ 2 w 141"/>
                        <a:gd name="T13" fmla="*/ 1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41" h="51">
                          <a:moveTo>
                            <a:pt x="2" y="1"/>
                          </a:moveTo>
                          <a:cubicBezTo>
                            <a:pt x="2" y="1"/>
                            <a:pt x="90" y="11"/>
                            <a:pt x="137" y="0"/>
                          </a:cubicBezTo>
                          <a:cubicBezTo>
                            <a:pt x="139" y="38"/>
                            <a:pt x="139" y="38"/>
                            <a:pt x="139" y="38"/>
                          </a:cubicBezTo>
                          <a:cubicBezTo>
                            <a:pt x="141" y="50"/>
                            <a:pt x="141" y="50"/>
                            <a:pt x="141" y="50"/>
                          </a:cubicBezTo>
                          <a:cubicBezTo>
                            <a:pt x="2" y="51"/>
                            <a:pt x="2" y="51"/>
                            <a:pt x="2" y="51"/>
                          </a:cubicBezTo>
                          <a:cubicBezTo>
                            <a:pt x="0" y="51"/>
                            <a:pt x="0" y="51"/>
                            <a:pt x="0" y="51"/>
                          </a:cubicBezTo>
                          <a:lnTo>
                            <a:pt x="2" y="1"/>
                          </a:lnTo>
                          <a:close/>
                        </a:path>
                      </a:pathLst>
                    </a:custGeom>
                    <a:solidFill>
                      <a:srgbClr val="F9F9F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44" name="Freeform 33"/>
                    <p:cNvSpPr>
                      <a:spLocks/>
                    </p:cNvSpPr>
                    <p:nvPr/>
                  </p:nvSpPr>
                  <p:spPr bwMode="auto">
                    <a:xfrm flipH="1" flipV="1">
                      <a:off x="1691681" y="2636911"/>
                      <a:ext cx="1162257" cy="1296777"/>
                    </a:xfrm>
                    <a:custGeom>
                      <a:avLst/>
                      <a:gdLst>
                        <a:gd name="T0" fmla="*/ 9 w 183"/>
                        <a:gd name="T1" fmla="*/ 0 h 204"/>
                        <a:gd name="T2" fmla="*/ 174 w 183"/>
                        <a:gd name="T3" fmla="*/ 4 h 204"/>
                        <a:gd name="T4" fmla="*/ 183 w 183"/>
                        <a:gd name="T5" fmla="*/ 204 h 204"/>
                        <a:gd name="T6" fmla="*/ 0 w 183"/>
                        <a:gd name="T7" fmla="*/ 204 h 204"/>
                        <a:gd name="T8" fmla="*/ 9 w 183"/>
                        <a:gd name="T9" fmla="*/ 0 h 20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3" h="204">
                          <a:moveTo>
                            <a:pt x="9" y="0"/>
                          </a:moveTo>
                          <a:cubicBezTo>
                            <a:pt x="9" y="0"/>
                            <a:pt x="63" y="26"/>
                            <a:pt x="174" y="4"/>
                          </a:cubicBezTo>
                          <a:cubicBezTo>
                            <a:pt x="183" y="204"/>
                            <a:pt x="183" y="204"/>
                            <a:pt x="183" y="204"/>
                          </a:cubicBezTo>
                          <a:cubicBezTo>
                            <a:pt x="0" y="204"/>
                            <a:pt x="0" y="204"/>
                            <a:pt x="0" y="204"/>
                          </a:cubicBez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</p:grpSp>
            </p:grpSp>
            <p:grpSp>
              <p:nvGrpSpPr>
                <p:cNvPr id="122" name="Gruppieren 121"/>
                <p:cNvGrpSpPr/>
                <p:nvPr/>
              </p:nvGrpSpPr>
              <p:grpSpPr>
                <a:xfrm>
                  <a:off x="6918540" y="2481737"/>
                  <a:ext cx="1514973" cy="691491"/>
                  <a:chOff x="6918540" y="2481737"/>
                  <a:chExt cx="1514973" cy="691491"/>
                </a:xfrm>
              </p:grpSpPr>
              <p:sp>
                <p:nvSpPr>
                  <p:cNvPr id="123" name="Freeform 29"/>
                  <p:cNvSpPr>
                    <a:spLocks/>
                  </p:cNvSpPr>
                  <p:nvPr/>
                </p:nvSpPr>
                <p:spPr bwMode="auto">
                  <a:xfrm rot="5400000" flipH="1">
                    <a:off x="7500747" y="2599285"/>
                    <a:ext cx="336951" cy="221408"/>
                  </a:xfrm>
                  <a:custGeom>
                    <a:avLst/>
                    <a:gdLst>
                      <a:gd name="T0" fmla="*/ 0 w 924"/>
                      <a:gd name="T1" fmla="*/ 208 h 352"/>
                      <a:gd name="T2" fmla="*/ 924 w 924"/>
                      <a:gd name="T3" fmla="*/ 208 h 352"/>
                      <a:gd name="T4" fmla="*/ 0 w 924"/>
                      <a:gd name="T5" fmla="*/ 208 h 3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924" h="352">
                        <a:moveTo>
                          <a:pt x="0" y="208"/>
                        </a:moveTo>
                        <a:cubicBezTo>
                          <a:pt x="0" y="208"/>
                          <a:pt x="472" y="0"/>
                          <a:pt x="924" y="208"/>
                        </a:cubicBezTo>
                        <a:cubicBezTo>
                          <a:pt x="924" y="208"/>
                          <a:pt x="464" y="352"/>
                          <a:pt x="0" y="208"/>
                        </a:cubicBezTo>
                        <a:close/>
                      </a:path>
                    </a:pathLst>
                  </a:custGeom>
                  <a:solidFill>
                    <a:srgbClr val="F9F9F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b="1" dirty="0"/>
                  </a:p>
                </p:txBody>
              </p:sp>
              <p:grpSp>
                <p:nvGrpSpPr>
                  <p:cNvPr id="124" name="Gruppieren 123"/>
                  <p:cNvGrpSpPr/>
                  <p:nvPr/>
                </p:nvGrpSpPr>
                <p:grpSpPr>
                  <a:xfrm>
                    <a:off x="6918540" y="2593879"/>
                    <a:ext cx="768620" cy="579349"/>
                    <a:chOff x="-6294437" y="1363663"/>
                    <a:chExt cx="5711824" cy="4305300"/>
                  </a:xfrm>
                </p:grpSpPr>
                <p:sp>
                  <p:nvSpPr>
                    <p:cNvPr id="129" name="Freeform 45"/>
                    <p:cNvSpPr>
                      <a:spLocks/>
                    </p:cNvSpPr>
                    <p:nvPr/>
                  </p:nvSpPr>
                  <p:spPr bwMode="auto">
                    <a:xfrm>
                      <a:off x="-4002088" y="2646363"/>
                      <a:ext cx="1098550" cy="1219200"/>
                    </a:xfrm>
                    <a:custGeom>
                      <a:avLst/>
                      <a:gdLst>
                        <a:gd name="T0" fmla="*/ 692 w 692"/>
                        <a:gd name="T1" fmla="*/ 144 h 768"/>
                        <a:gd name="T2" fmla="*/ 189 w 692"/>
                        <a:gd name="T3" fmla="*/ 768 h 768"/>
                        <a:gd name="T4" fmla="*/ 0 w 692"/>
                        <a:gd name="T5" fmla="*/ 654 h 768"/>
                        <a:gd name="T6" fmla="*/ 383 w 692"/>
                        <a:gd name="T7" fmla="*/ 0 h 768"/>
                        <a:gd name="T8" fmla="*/ 692 w 692"/>
                        <a:gd name="T9" fmla="*/ 144 h 7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92" h="768">
                          <a:moveTo>
                            <a:pt x="692" y="144"/>
                          </a:moveTo>
                          <a:lnTo>
                            <a:pt x="189" y="768"/>
                          </a:lnTo>
                          <a:lnTo>
                            <a:pt x="0" y="654"/>
                          </a:lnTo>
                          <a:lnTo>
                            <a:pt x="383" y="0"/>
                          </a:lnTo>
                          <a:lnTo>
                            <a:pt x="692" y="144"/>
                          </a:lnTo>
                          <a:close/>
                        </a:path>
                      </a:pathLst>
                    </a:custGeom>
                    <a:solidFill>
                      <a:srgbClr val="F0A868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30" name="Freeform 46"/>
                    <p:cNvSpPr>
                      <a:spLocks/>
                    </p:cNvSpPr>
                    <p:nvPr/>
                  </p:nvSpPr>
                  <p:spPr bwMode="auto">
                    <a:xfrm>
                      <a:off x="-4448175" y="2874963"/>
                      <a:ext cx="1492250" cy="1271588"/>
                    </a:xfrm>
                    <a:custGeom>
                      <a:avLst/>
                      <a:gdLst>
                        <a:gd name="T0" fmla="*/ 398 w 398"/>
                        <a:gd name="T1" fmla="*/ 113 h 339"/>
                        <a:gd name="T2" fmla="*/ 315 w 398"/>
                        <a:gd name="T3" fmla="*/ 294 h 339"/>
                        <a:gd name="T4" fmla="*/ 194 w 398"/>
                        <a:gd name="T5" fmla="*/ 339 h 339"/>
                        <a:gd name="T6" fmla="*/ 0 w 398"/>
                        <a:gd name="T7" fmla="*/ 307 h 339"/>
                        <a:gd name="T8" fmla="*/ 74 w 398"/>
                        <a:gd name="T9" fmla="*/ 16 h 339"/>
                        <a:gd name="T10" fmla="*/ 285 w 398"/>
                        <a:gd name="T11" fmla="*/ 0 h 339"/>
                        <a:gd name="T12" fmla="*/ 155 w 398"/>
                        <a:gd name="T13" fmla="*/ 225 h 339"/>
                        <a:gd name="T14" fmla="*/ 176 w 398"/>
                        <a:gd name="T15" fmla="*/ 244 h 339"/>
                        <a:gd name="T16" fmla="*/ 186 w 398"/>
                        <a:gd name="T17" fmla="*/ 244 h 339"/>
                        <a:gd name="T18" fmla="*/ 335 w 398"/>
                        <a:gd name="T19" fmla="*/ 70 h 339"/>
                        <a:gd name="T20" fmla="*/ 398 w 398"/>
                        <a:gd name="T21" fmla="*/ 113 h 3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98" h="339">
                          <a:moveTo>
                            <a:pt x="398" y="113"/>
                          </a:moveTo>
                          <a:cubicBezTo>
                            <a:pt x="398" y="113"/>
                            <a:pt x="398" y="246"/>
                            <a:pt x="315" y="294"/>
                          </a:cubicBezTo>
                          <a:cubicBezTo>
                            <a:pt x="194" y="339"/>
                            <a:pt x="194" y="339"/>
                            <a:pt x="194" y="339"/>
                          </a:cubicBezTo>
                          <a:cubicBezTo>
                            <a:pt x="0" y="307"/>
                            <a:pt x="0" y="307"/>
                            <a:pt x="0" y="307"/>
                          </a:cubicBezTo>
                          <a:cubicBezTo>
                            <a:pt x="74" y="16"/>
                            <a:pt x="74" y="16"/>
                            <a:pt x="74" y="16"/>
                          </a:cubicBezTo>
                          <a:cubicBezTo>
                            <a:pt x="285" y="0"/>
                            <a:pt x="285" y="0"/>
                            <a:pt x="285" y="0"/>
                          </a:cubicBezTo>
                          <a:cubicBezTo>
                            <a:pt x="285" y="0"/>
                            <a:pt x="234" y="172"/>
                            <a:pt x="155" y="225"/>
                          </a:cubicBezTo>
                          <a:cubicBezTo>
                            <a:pt x="155" y="225"/>
                            <a:pt x="157" y="240"/>
                            <a:pt x="176" y="244"/>
                          </a:cubicBezTo>
                          <a:cubicBezTo>
                            <a:pt x="196" y="248"/>
                            <a:pt x="186" y="244"/>
                            <a:pt x="186" y="244"/>
                          </a:cubicBezTo>
                          <a:cubicBezTo>
                            <a:pt x="186" y="244"/>
                            <a:pt x="279" y="52"/>
                            <a:pt x="335" y="70"/>
                          </a:cubicBezTo>
                          <a:cubicBezTo>
                            <a:pt x="390" y="88"/>
                            <a:pt x="398" y="113"/>
                            <a:pt x="398" y="113"/>
                          </a:cubicBezTo>
                          <a:close/>
                        </a:path>
                      </a:pathLst>
                    </a:custGeom>
                    <a:solidFill>
                      <a:srgbClr val="F8C08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31" name="Freeform 47"/>
                    <p:cNvSpPr>
                      <a:spLocks/>
                    </p:cNvSpPr>
                    <p:nvPr/>
                  </p:nvSpPr>
                  <p:spPr bwMode="auto">
                    <a:xfrm>
                      <a:off x="-5284333" y="3017833"/>
                      <a:ext cx="2328404" cy="1702691"/>
                    </a:xfrm>
                    <a:custGeom>
                      <a:avLst/>
                      <a:gdLst>
                        <a:gd name="T0" fmla="*/ 291 w 582"/>
                        <a:gd name="T1" fmla="*/ 0 h 463"/>
                        <a:gd name="T2" fmla="*/ 242 w 582"/>
                        <a:gd name="T3" fmla="*/ 176 h 463"/>
                        <a:gd name="T4" fmla="*/ 234 w 582"/>
                        <a:gd name="T5" fmla="*/ 256 h 463"/>
                        <a:gd name="T6" fmla="*/ 345 w 582"/>
                        <a:gd name="T7" fmla="*/ 285 h 463"/>
                        <a:gd name="T8" fmla="*/ 582 w 582"/>
                        <a:gd name="T9" fmla="*/ 214 h 463"/>
                        <a:gd name="T10" fmla="*/ 511 w 582"/>
                        <a:gd name="T11" fmla="*/ 319 h 463"/>
                        <a:gd name="T12" fmla="*/ 430 w 582"/>
                        <a:gd name="T13" fmla="*/ 432 h 463"/>
                        <a:gd name="T14" fmla="*/ 258 w 582"/>
                        <a:gd name="T15" fmla="*/ 452 h 463"/>
                        <a:gd name="T16" fmla="*/ 94 w 582"/>
                        <a:gd name="T17" fmla="*/ 418 h 463"/>
                        <a:gd name="T18" fmla="*/ 0 w 582"/>
                        <a:gd name="T19" fmla="*/ 317 h 463"/>
                        <a:gd name="T20" fmla="*/ 291 w 582"/>
                        <a:gd name="T21" fmla="*/ 0 h 463"/>
                        <a:gd name="connsiteX0" fmla="*/ 5667 w 10667"/>
                        <a:gd name="connsiteY0" fmla="*/ 0 h 9813"/>
                        <a:gd name="connsiteX1" fmla="*/ 4825 w 10667"/>
                        <a:gd name="connsiteY1" fmla="*/ 3801 h 9813"/>
                        <a:gd name="connsiteX2" fmla="*/ 4688 w 10667"/>
                        <a:gd name="connsiteY2" fmla="*/ 5529 h 9813"/>
                        <a:gd name="connsiteX3" fmla="*/ 6595 w 10667"/>
                        <a:gd name="connsiteY3" fmla="*/ 6156 h 9813"/>
                        <a:gd name="connsiteX4" fmla="*/ 10667 w 10667"/>
                        <a:gd name="connsiteY4" fmla="*/ 4622 h 9813"/>
                        <a:gd name="connsiteX5" fmla="*/ 9447 w 10667"/>
                        <a:gd name="connsiteY5" fmla="*/ 6890 h 9813"/>
                        <a:gd name="connsiteX6" fmla="*/ 8055 w 10667"/>
                        <a:gd name="connsiteY6" fmla="*/ 9330 h 9813"/>
                        <a:gd name="connsiteX7" fmla="*/ 5100 w 10667"/>
                        <a:gd name="connsiteY7" fmla="*/ 9762 h 9813"/>
                        <a:gd name="connsiteX8" fmla="*/ 2282 w 10667"/>
                        <a:gd name="connsiteY8" fmla="*/ 9028 h 9813"/>
                        <a:gd name="connsiteX9" fmla="*/ 0 w 10667"/>
                        <a:gd name="connsiteY9" fmla="*/ 5840 h 9813"/>
                        <a:gd name="connsiteX10" fmla="*/ 5667 w 10667"/>
                        <a:gd name="connsiteY10" fmla="*/ 0 h 981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10667" h="9813">
                          <a:moveTo>
                            <a:pt x="5667" y="0"/>
                          </a:moveTo>
                          <a:cubicBezTo>
                            <a:pt x="5667" y="0"/>
                            <a:pt x="5598" y="3261"/>
                            <a:pt x="4825" y="3801"/>
                          </a:cubicBezTo>
                          <a:cubicBezTo>
                            <a:pt x="4825" y="3801"/>
                            <a:pt x="5031" y="4924"/>
                            <a:pt x="4688" y="5529"/>
                          </a:cubicBezTo>
                          <a:cubicBezTo>
                            <a:pt x="4688" y="5529"/>
                            <a:pt x="6492" y="5572"/>
                            <a:pt x="6595" y="6156"/>
                          </a:cubicBezTo>
                          <a:cubicBezTo>
                            <a:pt x="6595" y="6156"/>
                            <a:pt x="9413" y="1663"/>
                            <a:pt x="10667" y="4622"/>
                          </a:cubicBezTo>
                          <a:cubicBezTo>
                            <a:pt x="10667" y="4622"/>
                            <a:pt x="10323" y="6026"/>
                            <a:pt x="9447" y="6890"/>
                          </a:cubicBezTo>
                          <a:cubicBezTo>
                            <a:pt x="9447" y="6890"/>
                            <a:pt x="8365" y="9158"/>
                            <a:pt x="8055" y="9330"/>
                          </a:cubicBezTo>
                          <a:cubicBezTo>
                            <a:pt x="8055" y="9330"/>
                            <a:pt x="6492" y="10000"/>
                            <a:pt x="5100" y="9762"/>
                          </a:cubicBezTo>
                          <a:cubicBezTo>
                            <a:pt x="5100" y="9762"/>
                            <a:pt x="2866" y="9417"/>
                            <a:pt x="2282" y="9028"/>
                          </a:cubicBezTo>
                          <a:cubicBezTo>
                            <a:pt x="2282" y="9028"/>
                            <a:pt x="241" y="7373"/>
                            <a:pt x="0" y="5840"/>
                          </a:cubicBezTo>
                          <a:cubicBezTo>
                            <a:pt x="1667" y="3558"/>
                            <a:pt x="4000" y="2282"/>
                            <a:pt x="5667" y="0"/>
                          </a:cubicBezTo>
                          <a:close/>
                        </a:path>
                      </a:pathLst>
                    </a:custGeom>
                    <a:solidFill>
                      <a:srgbClr val="F8C080"/>
                    </a:solidFill>
                    <a:ln w="3175">
                      <a:solidFill>
                        <a:srgbClr val="F0A868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32" name="Freeform 48"/>
                    <p:cNvSpPr>
                      <a:spLocks/>
                    </p:cNvSpPr>
                    <p:nvPr/>
                  </p:nvSpPr>
                  <p:spPr bwMode="auto">
                    <a:xfrm>
                      <a:off x="-3335338" y="3775076"/>
                      <a:ext cx="379412" cy="454025"/>
                    </a:xfrm>
                    <a:custGeom>
                      <a:avLst/>
                      <a:gdLst>
                        <a:gd name="T0" fmla="*/ 0 w 101"/>
                        <a:gd name="T1" fmla="*/ 99 h 121"/>
                        <a:gd name="T2" fmla="*/ 42 w 101"/>
                        <a:gd name="T3" fmla="*/ 14 h 121"/>
                        <a:gd name="T4" fmla="*/ 101 w 101"/>
                        <a:gd name="T5" fmla="*/ 12 h 121"/>
                        <a:gd name="T6" fmla="*/ 30 w 101"/>
                        <a:gd name="T7" fmla="*/ 117 h 121"/>
                        <a:gd name="T8" fmla="*/ 0 w 101"/>
                        <a:gd name="T9" fmla="*/ 99 h 1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1" h="121">
                          <a:moveTo>
                            <a:pt x="0" y="99"/>
                          </a:moveTo>
                          <a:cubicBezTo>
                            <a:pt x="0" y="99"/>
                            <a:pt x="34" y="18"/>
                            <a:pt x="42" y="14"/>
                          </a:cubicBezTo>
                          <a:cubicBezTo>
                            <a:pt x="42" y="14"/>
                            <a:pt x="60" y="0"/>
                            <a:pt x="101" y="12"/>
                          </a:cubicBezTo>
                          <a:cubicBezTo>
                            <a:pt x="101" y="12"/>
                            <a:pt x="87" y="77"/>
                            <a:pt x="30" y="117"/>
                          </a:cubicBezTo>
                          <a:cubicBezTo>
                            <a:pt x="30" y="117"/>
                            <a:pt x="16" y="121"/>
                            <a:pt x="0" y="99"/>
                          </a:cubicBezTo>
                          <a:close/>
                        </a:path>
                      </a:pathLst>
                    </a:custGeom>
                    <a:solidFill>
                      <a:srgbClr val="F9C998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33" name="Freeform 49"/>
                    <p:cNvSpPr>
                      <a:spLocks/>
                    </p:cNvSpPr>
                    <p:nvPr/>
                  </p:nvSpPr>
                  <p:spPr bwMode="auto">
                    <a:xfrm>
                      <a:off x="-3836988" y="4071938"/>
                      <a:ext cx="77787" cy="187325"/>
                    </a:xfrm>
                    <a:custGeom>
                      <a:avLst/>
                      <a:gdLst>
                        <a:gd name="T0" fmla="*/ 2 w 21"/>
                        <a:gd name="T1" fmla="*/ 5 h 50"/>
                        <a:gd name="T2" fmla="*/ 12 w 21"/>
                        <a:gd name="T3" fmla="*/ 47 h 50"/>
                        <a:gd name="T4" fmla="*/ 19 w 21"/>
                        <a:gd name="T5" fmla="*/ 44 h 50"/>
                        <a:gd name="T6" fmla="*/ 9 w 21"/>
                        <a:gd name="T7" fmla="*/ 4 h 50"/>
                        <a:gd name="T8" fmla="*/ 2 w 21"/>
                        <a:gd name="T9" fmla="*/ 5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" h="50">
                          <a:moveTo>
                            <a:pt x="2" y="5"/>
                          </a:moveTo>
                          <a:cubicBezTo>
                            <a:pt x="0" y="20"/>
                            <a:pt x="4" y="35"/>
                            <a:pt x="12" y="47"/>
                          </a:cubicBezTo>
                          <a:cubicBezTo>
                            <a:pt x="13" y="50"/>
                            <a:pt x="21" y="47"/>
                            <a:pt x="19" y="44"/>
                          </a:cubicBezTo>
                          <a:cubicBezTo>
                            <a:pt x="11" y="32"/>
                            <a:pt x="8" y="18"/>
                            <a:pt x="9" y="4"/>
                          </a:cubicBezTo>
                          <a:cubicBezTo>
                            <a:pt x="10" y="0"/>
                            <a:pt x="2" y="2"/>
                            <a:pt x="2" y="5"/>
                          </a:cubicBezTo>
                          <a:close/>
                        </a:path>
                      </a:pathLst>
                    </a:custGeom>
                    <a:solidFill>
                      <a:srgbClr val="F0A86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34" name="Freeform 50"/>
                    <p:cNvSpPr>
                      <a:spLocks/>
                    </p:cNvSpPr>
                    <p:nvPr/>
                  </p:nvSpPr>
                  <p:spPr bwMode="auto">
                    <a:xfrm>
                      <a:off x="-4602163" y="3973513"/>
                      <a:ext cx="366712" cy="217488"/>
                    </a:xfrm>
                    <a:custGeom>
                      <a:avLst/>
                      <a:gdLst>
                        <a:gd name="T0" fmla="*/ 92 w 98"/>
                        <a:gd name="T1" fmla="*/ 1 h 58"/>
                        <a:gd name="T2" fmla="*/ 2 w 98"/>
                        <a:gd name="T3" fmla="*/ 56 h 58"/>
                        <a:gd name="T4" fmla="*/ 9 w 98"/>
                        <a:gd name="T5" fmla="*/ 56 h 58"/>
                        <a:gd name="T6" fmla="*/ 93 w 98"/>
                        <a:gd name="T7" fmla="*/ 4 h 58"/>
                        <a:gd name="T8" fmla="*/ 92 w 98"/>
                        <a:gd name="T9" fmla="*/ 1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8" h="58">
                          <a:moveTo>
                            <a:pt x="92" y="1"/>
                          </a:moveTo>
                          <a:cubicBezTo>
                            <a:pt x="57" y="10"/>
                            <a:pt x="29" y="32"/>
                            <a:pt x="2" y="56"/>
                          </a:cubicBezTo>
                          <a:cubicBezTo>
                            <a:pt x="0" y="58"/>
                            <a:pt x="8" y="57"/>
                            <a:pt x="9" y="56"/>
                          </a:cubicBezTo>
                          <a:cubicBezTo>
                            <a:pt x="34" y="33"/>
                            <a:pt x="60" y="12"/>
                            <a:pt x="93" y="4"/>
                          </a:cubicBezTo>
                          <a:cubicBezTo>
                            <a:pt x="98" y="3"/>
                            <a:pt x="97" y="0"/>
                            <a:pt x="92" y="1"/>
                          </a:cubicBezTo>
                          <a:close/>
                        </a:path>
                      </a:pathLst>
                    </a:custGeom>
                    <a:solidFill>
                      <a:srgbClr val="F0A86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35" name="Freeform 51"/>
                    <p:cNvSpPr>
                      <a:spLocks/>
                    </p:cNvSpPr>
                    <p:nvPr/>
                  </p:nvSpPr>
                  <p:spPr bwMode="auto">
                    <a:xfrm>
                      <a:off x="-6294437" y="1363663"/>
                      <a:ext cx="5711824" cy="4305300"/>
                    </a:xfrm>
                    <a:custGeom>
                      <a:avLst/>
                      <a:gdLst>
                        <a:gd name="T0" fmla="*/ 25 w 1523"/>
                        <a:gd name="T1" fmla="*/ 986 h 1148"/>
                        <a:gd name="T2" fmla="*/ 56 w 1523"/>
                        <a:gd name="T3" fmla="*/ 832 h 1148"/>
                        <a:gd name="T4" fmla="*/ 121 w 1523"/>
                        <a:gd name="T5" fmla="*/ 680 h 1148"/>
                        <a:gd name="T6" fmla="*/ 194 w 1523"/>
                        <a:gd name="T7" fmla="*/ 527 h 1148"/>
                        <a:gd name="T8" fmla="*/ 323 w 1523"/>
                        <a:gd name="T9" fmla="*/ 318 h 1148"/>
                        <a:gd name="T10" fmla="*/ 528 w 1523"/>
                        <a:gd name="T11" fmla="*/ 144 h 1148"/>
                        <a:gd name="T12" fmla="*/ 852 w 1523"/>
                        <a:gd name="T13" fmla="*/ 78 h 1148"/>
                        <a:gd name="T14" fmla="*/ 1522 w 1523"/>
                        <a:gd name="T15" fmla="*/ 0 h 1148"/>
                        <a:gd name="T16" fmla="*/ 1523 w 1523"/>
                        <a:gd name="T17" fmla="*/ 398 h 1148"/>
                        <a:gd name="T18" fmla="*/ 1294 w 1523"/>
                        <a:gd name="T19" fmla="*/ 518 h 1148"/>
                        <a:gd name="T20" fmla="*/ 704 w 1523"/>
                        <a:gd name="T21" fmla="*/ 445 h 1148"/>
                        <a:gd name="T22" fmla="*/ 494 w 1523"/>
                        <a:gd name="T23" fmla="*/ 481 h 1148"/>
                        <a:gd name="T24" fmla="*/ 353 w 1523"/>
                        <a:gd name="T25" fmla="*/ 649 h 1148"/>
                        <a:gd name="T26" fmla="*/ 353 w 1523"/>
                        <a:gd name="T27" fmla="*/ 657 h 1148"/>
                        <a:gd name="T28" fmla="*/ 335 w 1523"/>
                        <a:gd name="T29" fmla="*/ 674 h 1148"/>
                        <a:gd name="T30" fmla="*/ 335 w 1523"/>
                        <a:gd name="T31" fmla="*/ 674 h 1148"/>
                        <a:gd name="T32" fmla="*/ 335 w 1523"/>
                        <a:gd name="T33" fmla="*/ 674 h 1148"/>
                        <a:gd name="T34" fmla="*/ 283 w 1523"/>
                        <a:gd name="T35" fmla="*/ 719 h 1148"/>
                        <a:gd name="T36" fmla="*/ 180 w 1523"/>
                        <a:gd name="T37" fmla="*/ 902 h 1148"/>
                        <a:gd name="T38" fmla="*/ 146 w 1523"/>
                        <a:gd name="T39" fmla="*/ 1010 h 1148"/>
                        <a:gd name="T40" fmla="*/ 91 w 1523"/>
                        <a:gd name="T41" fmla="*/ 1090 h 1148"/>
                        <a:gd name="T42" fmla="*/ 7 w 1523"/>
                        <a:gd name="T43" fmla="*/ 1095 h 1148"/>
                        <a:gd name="T44" fmla="*/ 25 w 1523"/>
                        <a:gd name="T45" fmla="*/ 986 h 1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1523" h="1148">
                          <a:moveTo>
                            <a:pt x="25" y="986"/>
                          </a:moveTo>
                          <a:cubicBezTo>
                            <a:pt x="22" y="935"/>
                            <a:pt x="56" y="832"/>
                            <a:pt x="56" y="832"/>
                          </a:cubicBezTo>
                          <a:cubicBezTo>
                            <a:pt x="57" y="810"/>
                            <a:pt x="121" y="680"/>
                            <a:pt x="121" y="680"/>
                          </a:cubicBezTo>
                          <a:cubicBezTo>
                            <a:pt x="136" y="631"/>
                            <a:pt x="194" y="527"/>
                            <a:pt x="194" y="527"/>
                          </a:cubicBezTo>
                          <a:cubicBezTo>
                            <a:pt x="218" y="453"/>
                            <a:pt x="277" y="373"/>
                            <a:pt x="323" y="318"/>
                          </a:cubicBezTo>
                          <a:cubicBezTo>
                            <a:pt x="347" y="127"/>
                            <a:pt x="528" y="144"/>
                            <a:pt x="528" y="144"/>
                          </a:cubicBezTo>
                          <a:cubicBezTo>
                            <a:pt x="601" y="120"/>
                            <a:pt x="721" y="98"/>
                            <a:pt x="852" y="78"/>
                          </a:cubicBezTo>
                          <a:cubicBezTo>
                            <a:pt x="1156" y="32"/>
                            <a:pt x="1522" y="0"/>
                            <a:pt x="1522" y="0"/>
                          </a:cubicBezTo>
                          <a:cubicBezTo>
                            <a:pt x="1523" y="398"/>
                            <a:pt x="1523" y="398"/>
                            <a:pt x="1523" y="398"/>
                          </a:cubicBezTo>
                          <a:cubicBezTo>
                            <a:pt x="1448" y="429"/>
                            <a:pt x="1294" y="518"/>
                            <a:pt x="1294" y="518"/>
                          </a:cubicBezTo>
                          <a:cubicBezTo>
                            <a:pt x="934" y="730"/>
                            <a:pt x="704" y="445"/>
                            <a:pt x="704" y="445"/>
                          </a:cubicBezTo>
                          <a:cubicBezTo>
                            <a:pt x="682" y="512"/>
                            <a:pt x="494" y="481"/>
                            <a:pt x="494" y="481"/>
                          </a:cubicBezTo>
                          <a:cubicBezTo>
                            <a:pt x="498" y="546"/>
                            <a:pt x="402" y="592"/>
                            <a:pt x="353" y="649"/>
                          </a:cubicBezTo>
                          <a:cubicBezTo>
                            <a:pt x="353" y="657"/>
                            <a:pt x="353" y="657"/>
                            <a:pt x="353" y="657"/>
                          </a:cubicBezTo>
                          <a:cubicBezTo>
                            <a:pt x="347" y="663"/>
                            <a:pt x="341" y="669"/>
                            <a:pt x="335" y="674"/>
                          </a:cubicBezTo>
                          <a:cubicBezTo>
                            <a:pt x="335" y="674"/>
                            <a:pt x="335" y="674"/>
                            <a:pt x="335" y="674"/>
                          </a:cubicBezTo>
                          <a:cubicBezTo>
                            <a:pt x="335" y="674"/>
                            <a:pt x="335" y="674"/>
                            <a:pt x="335" y="674"/>
                          </a:cubicBezTo>
                          <a:cubicBezTo>
                            <a:pt x="305" y="701"/>
                            <a:pt x="283" y="719"/>
                            <a:pt x="283" y="719"/>
                          </a:cubicBezTo>
                          <a:cubicBezTo>
                            <a:pt x="252" y="881"/>
                            <a:pt x="180" y="902"/>
                            <a:pt x="180" y="902"/>
                          </a:cubicBezTo>
                          <a:cubicBezTo>
                            <a:pt x="199" y="928"/>
                            <a:pt x="146" y="1010"/>
                            <a:pt x="146" y="1010"/>
                          </a:cubicBezTo>
                          <a:cubicBezTo>
                            <a:pt x="152" y="1064"/>
                            <a:pt x="91" y="1090"/>
                            <a:pt x="91" y="1090"/>
                          </a:cubicBezTo>
                          <a:cubicBezTo>
                            <a:pt x="50" y="1148"/>
                            <a:pt x="7" y="1095"/>
                            <a:pt x="7" y="1095"/>
                          </a:cubicBezTo>
                          <a:cubicBezTo>
                            <a:pt x="0" y="1045"/>
                            <a:pt x="25" y="986"/>
                            <a:pt x="25" y="986"/>
                          </a:cubicBezTo>
                          <a:close/>
                        </a:path>
                      </a:pathLst>
                    </a:custGeom>
                    <a:solidFill>
                      <a:srgbClr val="F8C080"/>
                    </a:solidFill>
                    <a:ln w="3175">
                      <a:solidFill>
                        <a:srgbClr val="F0A868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36" name="Freeform 52"/>
                    <p:cNvSpPr>
                      <a:spLocks/>
                    </p:cNvSpPr>
                    <p:nvPr/>
                  </p:nvSpPr>
                  <p:spPr bwMode="auto">
                    <a:xfrm>
                      <a:off x="-6270625" y="5072063"/>
                      <a:ext cx="187325" cy="338138"/>
                    </a:xfrm>
                    <a:custGeom>
                      <a:avLst/>
                      <a:gdLst>
                        <a:gd name="T0" fmla="*/ 45 w 50"/>
                        <a:gd name="T1" fmla="*/ 24 h 90"/>
                        <a:gd name="T2" fmla="*/ 0 w 50"/>
                        <a:gd name="T3" fmla="*/ 90 h 90"/>
                        <a:gd name="T4" fmla="*/ 21 w 50"/>
                        <a:gd name="T5" fmla="*/ 0 h 90"/>
                        <a:gd name="T6" fmla="*/ 45 w 50"/>
                        <a:gd name="T7" fmla="*/ 24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50" h="90">
                          <a:moveTo>
                            <a:pt x="45" y="24"/>
                          </a:moveTo>
                          <a:cubicBezTo>
                            <a:pt x="45" y="24"/>
                            <a:pt x="24" y="84"/>
                            <a:pt x="0" y="90"/>
                          </a:cubicBezTo>
                          <a:cubicBezTo>
                            <a:pt x="0" y="90"/>
                            <a:pt x="4" y="21"/>
                            <a:pt x="21" y="0"/>
                          </a:cubicBezTo>
                          <a:cubicBezTo>
                            <a:pt x="21" y="0"/>
                            <a:pt x="50" y="12"/>
                            <a:pt x="45" y="24"/>
                          </a:cubicBezTo>
                          <a:close/>
                        </a:path>
                      </a:pathLst>
                    </a:custGeom>
                    <a:solidFill>
                      <a:srgbClr val="F9C998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37" name="Freeform 54"/>
                    <p:cNvSpPr>
                      <a:spLocks/>
                    </p:cNvSpPr>
                    <p:nvPr/>
                  </p:nvSpPr>
                  <p:spPr bwMode="auto">
                    <a:xfrm>
                      <a:off x="-5168900" y="1712913"/>
                      <a:ext cx="2028825" cy="2530475"/>
                    </a:xfrm>
                    <a:custGeom>
                      <a:avLst/>
                      <a:gdLst>
                        <a:gd name="T0" fmla="*/ 541 w 541"/>
                        <a:gd name="T1" fmla="*/ 0 h 675"/>
                        <a:gd name="T2" fmla="*/ 62 w 541"/>
                        <a:gd name="T3" fmla="*/ 186 h 675"/>
                        <a:gd name="T4" fmla="*/ 36 w 541"/>
                        <a:gd name="T5" fmla="*/ 380 h 675"/>
                        <a:gd name="T6" fmla="*/ 34 w 541"/>
                        <a:gd name="T7" fmla="*/ 423 h 675"/>
                        <a:gd name="T8" fmla="*/ 25 w 541"/>
                        <a:gd name="T9" fmla="*/ 572 h 675"/>
                        <a:gd name="T10" fmla="*/ 198 w 541"/>
                        <a:gd name="T11" fmla="*/ 510 h 675"/>
                        <a:gd name="T12" fmla="*/ 254 w 541"/>
                        <a:gd name="T13" fmla="*/ 408 h 675"/>
                        <a:gd name="T14" fmla="*/ 434 w 541"/>
                        <a:gd name="T15" fmla="*/ 346 h 67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41" h="675">
                          <a:moveTo>
                            <a:pt x="541" y="0"/>
                          </a:moveTo>
                          <a:cubicBezTo>
                            <a:pt x="541" y="0"/>
                            <a:pt x="87" y="154"/>
                            <a:pt x="62" y="186"/>
                          </a:cubicBezTo>
                          <a:cubicBezTo>
                            <a:pt x="62" y="186"/>
                            <a:pt x="0" y="229"/>
                            <a:pt x="36" y="380"/>
                          </a:cubicBezTo>
                          <a:cubicBezTo>
                            <a:pt x="36" y="380"/>
                            <a:pt x="38" y="413"/>
                            <a:pt x="34" y="423"/>
                          </a:cubicBezTo>
                          <a:cubicBezTo>
                            <a:pt x="34" y="423"/>
                            <a:pt x="14" y="542"/>
                            <a:pt x="25" y="572"/>
                          </a:cubicBezTo>
                          <a:cubicBezTo>
                            <a:pt x="25" y="572"/>
                            <a:pt x="123" y="675"/>
                            <a:pt x="198" y="510"/>
                          </a:cubicBezTo>
                          <a:cubicBezTo>
                            <a:pt x="198" y="510"/>
                            <a:pt x="256" y="473"/>
                            <a:pt x="254" y="408"/>
                          </a:cubicBezTo>
                          <a:cubicBezTo>
                            <a:pt x="254" y="408"/>
                            <a:pt x="400" y="411"/>
                            <a:pt x="434" y="346"/>
                          </a:cubicBezTo>
                        </a:path>
                      </a:pathLst>
                    </a:custGeom>
                    <a:solidFill>
                      <a:srgbClr val="F8C080"/>
                    </a:solidFill>
                    <a:ln w="3175" cap="flat">
                      <a:solidFill>
                        <a:srgbClr val="F0A868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38" name="Freeform 55"/>
                    <p:cNvSpPr>
                      <a:spLocks/>
                    </p:cNvSpPr>
                    <p:nvPr/>
                  </p:nvSpPr>
                  <p:spPr bwMode="auto">
                    <a:xfrm>
                      <a:off x="-5094288" y="3298826"/>
                      <a:ext cx="379412" cy="566738"/>
                    </a:xfrm>
                    <a:custGeom>
                      <a:avLst/>
                      <a:gdLst>
                        <a:gd name="T0" fmla="*/ 14 w 101"/>
                        <a:gd name="T1" fmla="*/ 0 h 151"/>
                        <a:gd name="T2" fmla="*/ 77 w 101"/>
                        <a:gd name="T3" fmla="*/ 56 h 151"/>
                        <a:gd name="T4" fmla="*/ 46 w 101"/>
                        <a:gd name="T5" fmla="*/ 151 h 151"/>
                        <a:gd name="T6" fmla="*/ 1 w 101"/>
                        <a:gd name="T7" fmla="*/ 123 h 151"/>
                        <a:gd name="T8" fmla="*/ 14 w 101"/>
                        <a:gd name="T9" fmla="*/ 0 h 1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1" h="151">
                          <a:moveTo>
                            <a:pt x="14" y="0"/>
                          </a:moveTo>
                          <a:cubicBezTo>
                            <a:pt x="14" y="0"/>
                            <a:pt x="79" y="40"/>
                            <a:pt x="77" y="56"/>
                          </a:cubicBezTo>
                          <a:cubicBezTo>
                            <a:pt x="77" y="56"/>
                            <a:pt x="101" y="133"/>
                            <a:pt x="46" y="151"/>
                          </a:cubicBezTo>
                          <a:cubicBezTo>
                            <a:pt x="46" y="151"/>
                            <a:pt x="1" y="141"/>
                            <a:pt x="1" y="123"/>
                          </a:cubicBezTo>
                          <a:cubicBezTo>
                            <a:pt x="1" y="123"/>
                            <a:pt x="0" y="26"/>
                            <a:pt x="14" y="0"/>
                          </a:cubicBezTo>
                          <a:close/>
                        </a:path>
                      </a:pathLst>
                    </a:custGeom>
                    <a:solidFill>
                      <a:srgbClr val="F9C998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</p:grpSp>
              <p:grpSp>
                <p:nvGrpSpPr>
                  <p:cNvPr id="125" name="Gruppieren 124"/>
                  <p:cNvGrpSpPr/>
                  <p:nvPr/>
                </p:nvGrpSpPr>
                <p:grpSpPr>
                  <a:xfrm rot="5400000">
                    <a:off x="7804578" y="2319015"/>
                    <a:ext cx="466214" cy="791657"/>
                    <a:chOff x="1691681" y="2636911"/>
                    <a:chExt cx="1162257" cy="1525462"/>
                  </a:xfrm>
                </p:grpSpPr>
                <p:sp>
                  <p:nvSpPr>
                    <p:cNvPr id="126" name="Freeform 31"/>
                    <p:cNvSpPr>
                      <a:spLocks/>
                    </p:cNvSpPr>
                    <p:nvPr/>
                  </p:nvSpPr>
                  <p:spPr bwMode="auto">
                    <a:xfrm flipH="1" flipV="1">
                      <a:off x="1787253" y="3839811"/>
                      <a:ext cx="941705" cy="113020"/>
                    </a:xfrm>
                    <a:custGeom>
                      <a:avLst/>
                      <a:gdLst>
                        <a:gd name="T0" fmla="*/ 0 w 158"/>
                        <a:gd name="T1" fmla="*/ 14 h 44"/>
                        <a:gd name="T2" fmla="*/ 158 w 158"/>
                        <a:gd name="T3" fmla="*/ 16 h 44"/>
                        <a:gd name="T4" fmla="*/ 0 w 158"/>
                        <a:gd name="T5" fmla="*/ 14 h 44"/>
                        <a:gd name="connsiteX0" fmla="*/ 0 w 10211"/>
                        <a:gd name="connsiteY0" fmla="*/ 938 h 4244"/>
                        <a:gd name="connsiteX1" fmla="*/ 10211 w 10211"/>
                        <a:gd name="connsiteY1" fmla="*/ 1916 h 4244"/>
                        <a:gd name="connsiteX2" fmla="*/ 0 w 10211"/>
                        <a:gd name="connsiteY2" fmla="*/ 938 h 4244"/>
                        <a:gd name="connsiteX0" fmla="*/ 0 w 9794"/>
                        <a:gd name="connsiteY0" fmla="*/ 2477 h 10143"/>
                        <a:gd name="connsiteX1" fmla="*/ 9794 w 9794"/>
                        <a:gd name="connsiteY1" fmla="*/ 4370 h 10143"/>
                        <a:gd name="connsiteX2" fmla="*/ 0 w 9794"/>
                        <a:gd name="connsiteY2" fmla="*/ 2477 h 1014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9794" h="10143">
                          <a:moveTo>
                            <a:pt x="0" y="2477"/>
                          </a:moveTo>
                          <a:cubicBezTo>
                            <a:pt x="0" y="2477"/>
                            <a:pt x="6571" y="-4198"/>
                            <a:pt x="9794" y="4370"/>
                          </a:cubicBezTo>
                          <a:cubicBezTo>
                            <a:pt x="9794" y="4370"/>
                            <a:pt x="5144" y="18542"/>
                            <a:pt x="0" y="2477"/>
                          </a:cubicBezTo>
                          <a:close/>
                        </a:path>
                      </a:pathLst>
                    </a:custGeom>
                    <a:solidFill>
                      <a:srgbClr val="282829"/>
                    </a:solidFill>
                    <a:ln w="15875" cap="flat">
                      <a:solidFill>
                        <a:srgbClr val="282829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27" name="Freeform 32"/>
                    <p:cNvSpPr>
                      <a:spLocks/>
                    </p:cNvSpPr>
                    <p:nvPr/>
                  </p:nvSpPr>
                  <p:spPr bwMode="auto">
                    <a:xfrm flipH="1" flipV="1">
                      <a:off x="1822561" y="3836834"/>
                      <a:ext cx="895907" cy="325539"/>
                    </a:xfrm>
                    <a:custGeom>
                      <a:avLst/>
                      <a:gdLst>
                        <a:gd name="T0" fmla="*/ 2 w 141"/>
                        <a:gd name="T1" fmla="*/ 1 h 51"/>
                        <a:gd name="T2" fmla="*/ 137 w 141"/>
                        <a:gd name="T3" fmla="*/ 0 h 51"/>
                        <a:gd name="T4" fmla="*/ 139 w 141"/>
                        <a:gd name="T5" fmla="*/ 38 h 51"/>
                        <a:gd name="T6" fmla="*/ 141 w 141"/>
                        <a:gd name="T7" fmla="*/ 50 h 51"/>
                        <a:gd name="T8" fmla="*/ 2 w 141"/>
                        <a:gd name="T9" fmla="*/ 51 h 51"/>
                        <a:gd name="T10" fmla="*/ 0 w 141"/>
                        <a:gd name="T11" fmla="*/ 51 h 51"/>
                        <a:gd name="T12" fmla="*/ 2 w 141"/>
                        <a:gd name="T13" fmla="*/ 1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41" h="51">
                          <a:moveTo>
                            <a:pt x="2" y="1"/>
                          </a:moveTo>
                          <a:cubicBezTo>
                            <a:pt x="2" y="1"/>
                            <a:pt x="90" y="11"/>
                            <a:pt x="137" y="0"/>
                          </a:cubicBezTo>
                          <a:cubicBezTo>
                            <a:pt x="139" y="38"/>
                            <a:pt x="139" y="38"/>
                            <a:pt x="139" y="38"/>
                          </a:cubicBezTo>
                          <a:cubicBezTo>
                            <a:pt x="141" y="50"/>
                            <a:pt x="141" y="50"/>
                            <a:pt x="141" y="50"/>
                          </a:cubicBezTo>
                          <a:cubicBezTo>
                            <a:pt x="2" y="51"/>
                            <a:pt x="2" y="51"/>
                            <a:pt x="2" y="51"/>
                          </a:cubicBezTo>
                          <a:cubicBezTo>
                            <a:pt x="0" y="51"/>
                            <a:pt x="0" y="51"/>
                            <a:pt x="0" y="51"/>
                          </a:cubicBezTo>
                          <a:lnTo>
                            <a:pt x="2" y="1"/>
                          </a:lnTo>
                          <a:close/>
                        </a:path>
                      </a:pathLst>
                    </a:custGeom>
                    <a:solidFill>
                      <a:srgbClr val="F9F9F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28" name="Freeform 33"/>
                    <p:cNvSpPr>
                      <a:spLocks/>
                    </p:cNvSpPr>
                    <p:nvPr/>
                  </p:nvSpPr>
                  <p:spPr bwMode="auto">
                    <a:xfrm flipH="1" flipV="1">
                      <a:off x="1691681" y="2636911"/>
                      <a:ext cx="1162257" cy="1296777"/>
                    </a:xfrm>
                    <a:custGeom>
                      <a:avLst/>
                      <a:gdLst>
                        <a:gd name="T0" fmla="*/ 9 w 183"/>
                        <a:gd name="T1" fmla="*/ 0 h 204"/>
                        <a:gd name="T2" fmla="*/ 174 w 183"/>
                        <a:gd name="T3" fmla="*/ 4 h 204"/>
                        <a:gd name="T4" fmla="*/ 183 w 183"/>
                        <a:gd name="T5" fmla="*/ 204 h 204"/>
                        <a:gd name="T6" fmla="*/ 0 w 183"/>
                        <a:gd name="T7" fmla="*/ 204 h 204"/>
                        <a:gd name="T8" fmla="*/ 9 w 183"/>
                        <a:gd name="T9" fmla="*/ 0 h 20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3" h="204">
                          <a:moveTo>
                            <a:pt x="9" y="0"/>
                          </a:moveTo>
                          <a:cubicBezTo>
                            <a:pt x="9" y="0"/>
                            <a:pt x="63" y="26"/>
                            <a:pt x="174" y="4"/>
                          </a:cubicBezTo>
                          <a:cubicBezTo>
                            <a:pt x="183" y="204"/>
                            <a:pt x="183" y="204"/>
                            <a:pt x="183" y="204"/>
                          </a:cubicBezTo>
                          <a:cubicBezTo>
                            <a:pt x="0" y="204"/>
                            <a:pt x="0" y="204"/>
                            <a:pt x="0" y="204"/>
                          </a:cubicBez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</p:grpSp>
            </p:grpSp>
          </p:grpSp>
          <p:grpSp>
            <p:nvGrpSpPr>
              <p:cNvPr id="95" name="Gruppieren 94"/>
              <p:cNvGrpSpPr/>
              <p:nvPr/>
            </p:nvGrpSpPr>
            <p:grpSpPr>
              <a:xfrm>
                <a:off x="2848492" y="1885693"/>
                <a:ext cx="7214368" cy="4394374"/>
                <a:chOff x="2848492" y="1885693"/>
                <a:chExt cx="7214368" cy="4394374"/>
              </a:xfrm>
            </p:grpSpPr>
            <p:grpSp>
              <p:nvGrpSpPr>
                <p:cNvPr id="96" name="Gruppieren 95"/>
                <p:cNvGrpSpPr/>
                <p:nvPr/>
              </p:nvGrpSpPr>
              <p:grpSpPr>
                <a:xfrm>
                  <a:off x="2848492" y="1885693"/>
                  <a:ext cx="2034847" cy="4382976"/>
                  <a:chOff x="2848492" y="1885693"/>
                  <a:chExt cx="2034847" cy="4382976"/>
                </a:xfrm>
              </p:grpSpPr>
              <p:grpSp>
                <p:nvGrpSpPr>
                  <p:cNvPr id="108" name="Gruppieren 107"/>
                  <p:cNvGrpSpPr/>
                  <p:nvPr/>
                </p:nvGrpSpPr>
                <p:grpSpPr>
                  <a:xfrm>
                    <a:off x="2848492" y="1885693"/>
                    <a:ext cx="2034847" cy="4382976"/>
                    <a:chOff x="-1152796" y="773116"/>
                    <a:chExt cx="2976708" cy="6411705"/>
                  </a:xfrm>
                </p:grpSpPr>
                <p:sp>
                  <p:nvSpPr>
                    <p:cNvPr id="110" name="Freeform 6"/>
                    <p:cNvSpPr>
                      <a:spLocks/>
                    </p:cNvSpPr>
                    <p:nvPr/>
                  </p:nvSpPr>
                  <p:spPr bwMode="auto">
                    <a:xfrm>
                      <a:off x="-1152796" y="773116"/>
                      <a:ext cx="2976708" cy="6411705"/>
                    </a:xfrm>
                    <a:custGeom>
                      <a:avLst/>
                      <a:gdLst>
                        <a:gd name="T0" fmla="*/ 492 w 752"/>
                        <a:gd name="T1" fmla="*/ 1528 h 1528"/>
                        <a:gd name="T2" fmla="*/ 600 w 752"/>
                        <a:gd name="T3" fmla="*/ 1226 h 1528"/>
                        <a:gd name="T4" fmla="*/ 660 w 752"/>
                        <a:gd name="T5" fmla="*/ 1062 h 1528"/>
                        <a:gd name="T6" fmla="*/ 669 w 752"/>
                        <a:gd name="T7" fmla="*/ 951 h 1528"/>
                        <a:gd name="T8" fmla="*/ 648 w 752"/>
                        <a:gd name="T9" fmla="*/ 600 h 1528"/>
                        <a:gd name="T10" fmla="*/ 628 w 752"/>
                        <a:gd name="T11" fmla="*/ 513 h 1528"/>
                        <a:gd name="T12" fmla="*/ 640 w 752"/>
                        <a:gd name="T13" fmla="*/ 415 h 1528"/>
                        <a:gd name="T14" fmla="*/ 600 w 752"/>
                        <a:gd name="T15" fmla="*/ 202 h 1528"/>
                        <a:gd name="T16" fmla="*/ 488 w 752"/>
                        <a:gd name="T17" fmla="*/ 324 h 1528"/>
                        <a:gd name="T18" fmla="*/ 477 w 752"/>
                        <a:gd name="T19" fmla="*/ 466 h 1528"/>
                        <a:gd name="T20" fmla="*/ 452 w 752"/>
                        <a:gd name="T21" fmla="*/ 543 h 1528"/>
                        <a:gd name="T22" fmla="*/ 429 w 752"/>
                        <a:gd name="T23" fmla="*/ 531 h 1528"/>
                        <a:gd name="T24" fmla="*/ 429 w 752"/>
                        <a:gd name="T25" fmla="*/ 0 h 1528"/>
                        <a:gd name="T26" fmla="*/ 266 w 752"/>
                        <a:gd name="T27" fmla="*/ 218 h 1528"/>
                        <a:gd name="T28" fmla="*/ 228 w 752"/>
                        <a:gd name="T29" fmla="*/ 289 h 1528"/>
                        <a:gd name="T30" fmla="*/ 224 w 752"/>
                        <a:gd name="T31" fmla="*/ 295 h 1528"/>
                        <a:gd name="T32" fmla="*/ 191 w 752"/>
                        <a:gd name="T33" fmla="*/ 422 h 1528"/>
                        <a:gd name="T34" fmla="*/ 177 w 752"/>
                        <a:gd name="T35" fmla="*/ 477 h 1528"/>
                        <a:gd name="T36" fmla="*/ 147 w 752"/>
                        <a:gd name="T37" fmla="*/ 532 h 1528"/>
                        <a:gd name="T38" fmla="*/ 156 w 752"/>
                        <a:gd name="T39" fmla="*/ 618 h 1528"/>
                        <a:gd name="T40" fmla="*/ 221 w 752"/>
                        <a:gd name="T41" fmla="*/ 927 h 1528"/>
                        <a:gd name="T42" fmla="*/ 140 w 752"/>
                        <a:gd name="T43" fmla="*/ 1295 h 1528"/>
                        <a:gd name="T44" fmla="*/ 0 w 752"/>
                        <a:gd name="T45" fmla="*/ 1515 h 1528"/>
                        <a:gd name="T46" fmla="*/ 492 w 752"/>
                        <a:gd name="T47" fmla="*/ 1528 h 1528"/>
                        <a:gd name="connsiteX0" fmla="*/ 7782 w 10552"/>
                        <a:gd name="connsiteY0" fmla="*/ 10000 h 11151"/>
                        <a:gd name="connsiteX1" fmla="*/ 9218 w 10552"/>
                        <a:gd name="connsiteY1" fmla="*/ 8024 h 11151"/>
                        <a:gd name="connsiteX2" fmla="*/ 10016 w 10552"/>
                        <a:gd name="connsiteY2" fmla="*/ 6950 h 11151"/>
                        <a:gd name="connsiteX3" fmla="*/ 10135 w 10552"/>
                        <a:gd name="connsiteY3" fmla="*/ 6224 h 11151"/>
                        <a:gd name="connsiteX4" fmla="*/ 9856 w 10552"/>
                        <a:gd name="connsiteY4" fmla="*/ 3927 h 11151"/>
                        <a:gd name="connsiteX5" fmla="*/ 9590 w 10552"/>
                        <a:gd name="connsiteY5" fmla="*/ 3357 h 11151"/>
                        <a:gd name="connsiteX6" fmla="*/ 9750 w 10552"/>
                        <a:gd name="connsiteY6" fmla="*/ 2716 h 11151"/>
                        <a:gd name="connsiteX7" fmla="*/ 9218 w 10552"/>
                        <a:gd name="connsiteY7" fmla="*/ 1322 h 11151"/>
                        <a:gd name="connsiteX8" fmla="*/ 7728 w 10552"/>
                        <a:gd name="connsiteY8" fmla="*/ 2120 h 11151"/>
                        <a:gd name="connsiteX9" fmla="*/ 7582 w 10552"/>
                        <a:gd name="connsiteY9" fmla="*/ 3050 h 11151"/>
                        <a:gd name="connsiteX10" fmla="*/ 7250 w 10552"/>
                        <a:gd name="connsiteY10" fmla="*/ 3554 h 11151"/>
                        <a:gd name="connsiteX11" fmla="*/ 6944 w 10552"/>
                        <a:gd name="connsiteY11" fmla="*/ 3475 h 11151"/>
                        <a:gd name="connsiteX12" fmla="*/ 6944 w 10552"/>
                        <a:gd name="connsiteY12" fmla="*/ 0 h 11151"/>
                        <a:gd name="connsiteX13" fmla="*/ 4776 w 10552"/>
                        <a:gd name="connsiteY13" fmla="*/ 1427 h 11151"/>
                        <a:gd name="connsiteX14" fmla="*/ 4271 w 10552"/>
                        <a:gd name="connsiteY14" fmla="*/ 1891 h 11151"/>
                        <a:gd name="connsiteX15" fmla="*/ 4218 w 10552"/>
                        <a:gd name="connsiteY15" fmla="*/ 1931 h 11151"/>
                        <a:gd name="connsiteX16" fmla="*/ 3779 w 10552"/>
                        <a:gd name="connsiteY16" fmla="*/ 2762 h 11151"/>
                        <a:gd name="connsiteX17" fmla="*/ 3593 w 10552"/>
                        <a:gd name="connsiteY17" fmla="*/ 3122 h 11151"/>
                        <a:gd name="connsiteX18" fmla="*/ 3194 w 10552"/>
                        <a:gd name="connsiteY18" fmla="*/ 3482 h 11151"/>
                        <a:gd name="connsiteX19" fmla="*/ 3313 w 10552"/>
                        <a:gd name="connsiteY19" fmla="*/ 4045 h 11151"/>
                        <a:gd name="connsiteX20" fmla="*/ 4178 w 10552"/>
                        <a:gd name="connsiteY20" fmla="*/ 6067 h 11151"/>
                        <a:gd name="connsiteX21" fmla="*/ 3101 w 10552"/>
                        <a:gd name="connsiteY21" fmla="*/ 8475 h 11151"/>
                        <a:gd name="connsiteX22" fmla="*/ 0 w 10552"/>
                        <a:gd name="connsiteY22" fmla="*/ 11151 h 11151"/>
                        <a:gd name="connsiteX23" fmla="*/ 7782 w 10552"/>
                        <a:gd name="connsiteY23" fmla="*/ 10000 h 11151"/>
                        <a:gd name="connsiteX0" fmla="*/ 6902 w 10552"/>
                        <a:gd name="connsiteY0" fmla="*/ 11188 h 11188"/>
                        <a:gd name="connsiteX1" fmla="*/ 9218 w 10552"/>
                        <a:gd name="connsiteY1" fmla="*/ 8024 h 11188"/>
                        <a:gd name="connsiteX2" fmla="*/ 10016 w 10552"/>
                        <a:gd name="connsiteY2" fmla="*/ 6950 h 11188"/>
                        <a:gd name="connsiteX3" fmla="*/ 10135 w 10552"/>
                        <a:gd name="connsiteY3" fmla="*/ 6224 h 11188"/>
                        <a:gd name="connsiteX4" fmla="*/ 9856 w 10552"/>
                        <a:gd name="connsiteY4" fmla="*/ 3927 h 11188"/>
                        <a:gd name="connsiteX5" fmla="*/ 9590 w 10552"/>
                        <a:gd name="connsiteY5" fmla="*/ 3357 h 11188"/>
                        <a:gd name="connsiteX6" fmla="*/ 9750 w 10552"/>
                        <a:gd name="connsiteY6" fmla="*/ 2716 h 11188"/>
                        <a:gd name="connsiteX7" fmla="*/ 9218 w 10552"/>
                        <a:gd name="connsiteY7" fmla="*/ 1322 h 11188"/>
                        <a:gd name="connsiteX8" fmla="*/ 7728 w 10552"/>
                        <a:gd name="connsiteY8" fmla="*/ 2120 h 11188"/>
                        <a:gd name="connsiteX9" fmla="*/ 7582 w 10552"/>
                        <a:gd name="connsiteY9" fmla="*/ 3050 h 11188"/>
                        <a:gd name="connsiteX10" fmla="*/ 7250 w 10552"/>
                        <a:gd name="connsiteY10" fmla="*/ 3554 h 11188"/>
                        <a:gd name="connsiteX11" fmla="*/ 6944 w 10552"/>
                        <a:gd name="connsiteY11" fmla="*/ 3475 h 11188"/>
                        <a:gd name="connsiteX12" fmla="*/ 6944 w 10552"/>
                        <a:gd name="connsiteY12" fmla="*/ 0 h 11188"/>
                        <a:gd name="connsiteX13" fmla="*/ 4776 w 10552"/>
                        <a:gd name="connsiteY13" fmla="*/ 1427 h 11188"/>
                        <a:gd name="connsiteX14" fmla="*/ 4271 w 10552"/>
                        <a:gd name="connsiteY14" fmla="*/ 1891 h 11188"/>
                        <a:gd name="connsiteX15" fmla="*/ 4218 w 10552"/>
                        <a:gd name="connsiteY15" fmla="*/ 1931 h 11188"/>
                        <a:gd name="connsiteX16" fmla="*/ 3779 w 10552"/>
                        <a:gd name="connsiteY16" fmla="*/ 2762 h 11188"/>
                        <a:gd name="connsiteX17" fmla="*/ 3593 w 10552"/>
                        <a:gd name="connsiteY17" fmla="*/ 3122 h 11188"/>
                        <a:gd name="connsiteX18" fmla="*/ 3194 w 10552"/>
                        <a:gd name="connsiteY18" fmla="*/ 3482 h 11188"/>
                        <a:gd name="connsiteX19" fmla="*/ 3313 w 10552"/>
                        <a:gd name="connsiteY19" fmla="*/ 4045 h 11188"/>
                        <a:gd name="connsiteX20" fmla="*/ 4178 w 10552"/>
                        <a:gd name="connsiteY20" fmla="*/ 6067 h 11188"/>
                        <a:gd name="connsiteX21" fmla="*/ 3101 w 10552"/>
                        <a:gd name="connsiteY21" fmla="*/ 8475 h 11188"/>
                        <a:gd name="connsiteX22" fmla="*/ 0 w 10552"/>
                        <a:gd name="connsiteY22" fmla="*/ 11151 h 11188"/>
                        <a:gd name="connsiteX23" fmla="*/ 6902 w 10552"/>
                        <a:gd name="connsiteY23" fmla="*/ 11188 h 111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</a:cxnLst>
                      <a:rect l="l" t="t" r="r" b="b"/>
                      <a:pathLst>
                        <a:path w="10552" h="11188">
                          <a:moveTo>
                            <a:pt x="6902" y="11188"/>
                          </a:moveTo>
                          <a:lnTo>
                            <a:pt x="9218" y="8024"/>
                          </a:lnTo>
                          <a:cubicBezTo>
                            <a:pt x="9737" y="7318"/>
                            <a:pt x="10042" y="7762"/>
                            <a:pt x="10016" y="6950"/>
                          </a:cubicBezTo>
                          <a:cubicBezTo>
                            <a:pt x="10016" y="6950"/>
                            <a:pt x="10029" y="6407"/>
                            <a:pt x="10135" y="6224"/>
                          </a:cubicBezTo>
                          <a:cubicBezTo>
                            <a:pt x="10135" y="6224"/>
                            <a:pt x="11239" y="5065"/>
                            <a:pt x="9856" y="3927"/>
                          </a:cubicBezTo>
                          <a:cubicBezTo>
                            <a:pt x="9856" y="3927"/>
                            <a:pt x="9696" y="3495"/>
                            <a:pt x="9590" y="3357"/>
                          </a:cubicBezTo>
                          <a:cubicBezTo>
                            <a:pt x="9590" y="3357"/>
                            <a:pt x="9617" y="3050"/>
                            <a:pt x="9750" y="2716"/>
                          </a:cubicBezTo>
                          <a:cubicBezTo>
                            <a:pt x="9750" y="2716"/>
                            <a:pt x="10335" y="1492"/>
                            <a:pt x="9218" y="1322"/>
                          </a:cubicBezTo>
                          <a:cubicBezTo>
                            <a:pt x="9218" y="1322"/>
                            <a:pt x="7968" y="1086"/>
                            <a:pt x="7728" y="2120"/>
                          </a:cubicBezTo>
                          <a:cubicBezTo>
                            <a:pt x="7728" y="2120"/>
                            <a:pt x="7555" y="2618"/>
                            <a:pt x="7582" y="3050"/>
                          </a:cubicBezTo>
                          <a:cubicBezTo>
                            <a:pt x="7582" y="3050"/>
                            <a:pt x="7343" y="3514"/>
                            <a:pt x="7250" y="3554"/>
                          </a:cubicBezTo>
                          <a:cubicBezTo>
                            <a:pt x="7250" y="3554"/>
                            <a:pt x="6970" y="3495"/>
                            <a:pt x="6944" y="3475"/>
                          </a:cubicBezTo>
                          <a:lnTo>
                            <a:pt x="6944" y="0"/>
                          </a:lnTo>
                          <a:cubicBezTo>
                            <a:pt x="6944" y="0"/>
                            <a:pt x="5215" y="1086"/>
                            <a:pt x="4776" y="1427"/>
                          </a:cubicBezTo>
                          <a:lnTo>
                            <a:pt x="4271" y="1891"/>
                          </a:lnTo>
                          <a:cubicBezTo>
                            <a:pt x="4244" y="1911"/>
                            <a:pt x="4231" y="1924"/>
                            <a:pt x="4218" y="1931"/>
                          </a:cubicBezTo>
                          <a:cubicBezTo>
                            <a:pt x="4125" y="1996"/>
                            <a:pt x="3872" y="2539"/>
                            <a:pt x="3779" y="2762"/>
                          </a:cubicBezTo>
                          <a:cubicBezTo>
                            <a:pt x="3779" y="2762"/>
                            <a:pt x="3593" y="2945"/>
                            <a:pt x="3593" y="3122"/>
                          </a:cubicBezTo>
                          <a:cubicBezTo>
                            <a:pt x="3593" y="3122"/>
                            <a:pt x="3340" y="3416"/>
                            <a:pt x="3194" y="3482"/>
                          </a:cubicBezTo>
                          <a:cubicBezTo>
                            <a:pt x="3194" y="3482"/>
                            <a:pt x="2928" y="3757"/>
                            <a:pt x="3313" y="4045"/>
                          </a:cubicBezTo>
                          <a:cubicBezTo>
                            <a:pt x="3313" y="4045"/>
                            <a:pt x="4178" y="5615"/>
                            <a:pt x="4178" y="6067"/>
                          </a:cubicBezTo>
                          <a:cubicBezTo>
                            <a:pt x="4178" y="6067"/>
                            <a:pt x="4683" y="7310"/>
                            <a:pt x="3101" y="8475"/>
                          </a:cubicBezTo>
                          <a:cubicBezTo>
                            <a:pt x="1239" y="9915"/>
                            <a:pt x="0" y="11151"/>
                            <a:pt x="0" y="11151"/>
                          </a:cubicBezTo>
                          <a:lnTo>
                            <a:pt x="6902" y="11188"/>
                          </a:lnTo>
                          <a:close/>
                        </a:path>
                      </a:pathLst>
                    </a:custGeom>
                    <a:solidFill>
                      <a:srgbClr val="F8C080"/>
                    </a:solidFill>
                    <a:ln w="15875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11" name="Freeform 7"/>
                    <p:cNvSpPr>
                      <a:spLocks/>
                    </p:cNvSpPr>
                    <p:nvPr/>
                  </p:nvSpPr>
                  <p:spPr bwMode="auto">
                    <a:xfrm>
                      <a:off x="1131888" y="1406525"/>
                      <a:ext cx="431800" cy="514350"/>
                    </a:xfrm>
                    <a:custGeom>
                      <a:avLst/>
                      <a:gdLst>
                        <a:gd name="T0" fmla="*/ 9 w 115"/>
                        <a:gd name="T1" fmla="*/ 122 h 137"/>
                        <a:gd name="T2" fmla="*/ 97 w 115"/>
                        <a:gd name="T3" fmla="*/ 137 h 137"/>
                        <a:gd name="T4" fmla="*/ 111 w 115"/>
                        <a:gd name="T5" fmla="*/ 91 h 137"/>
                        <a:gd name="T6" fmla="*/ 22 w 115"/>
                        <a:gd name="T7" fmla="*/ 53 h 137"/>
                        <a:gd name="T8" fmla="*/ 9 w 115"/>
                        <a:gd name="T9" fmla="*/ 122 h 1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5" h="137">
                          <a:moveTo>
                            <a:pt x="9" y="122"/>
                          </a:moveTo>
                          <a:cubicBezTo>
                            <a:pt x="9" y="122"/>
                            <a:pt x="80" y="119"/>
                            <a:pt x="97" y="137"/>
                          </a:cubicBezTo>
                          <a:cubicBezTo>
                            <a:pt x="97" y="137"/>
                            <a:pt x="115" y="112"/>
                            <a:pt x="111" y="91"/>
                          </a:cubicBezTo>
                          <a:cubicBezTo>
                            <a:pt x="111" y="91"/>
                            <a:pt x="95" y="0"/>
                            <a:pt x="22" y="53"/>
                          </a:cubicBezTo>
                          <a:cubicBezTo>
                            <a:pt x="22" y="53"/>
                            <a:pt x="0" y="80"/>
                            <a:pt x="9" y="122"/>
                          </a:cubicBezTo>
                          <a:close/>
                        </a:path>
                      </a:pathLst>
                    </a:custGeom>
                    <a:solidFill>
                      <a:srgbClr val="F9C998"/>
                    </a:solidFill>
                    <a:ln w="15875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12" name="Freeform 8"/>
                    <p:cNvSpPr>
                      <a:spLocks/>
                    </p:cNvSpPr>
                    <p:nvPr/>
                  </p:nvSpPr>
                  <p:spPr bwMode="auto">
                    <a:xfrm>
                      <a:off x="415925" y="2719494"/>
                      <a:ext cx="514350" cy="420687"/>
                    </a:xfrm>
                    <a:custGeom>
                      <a:avLst/>
                      <a:gdLst>
                        <a:gd name="T0" fmla="*/ 135 w 137"/>
                        <a:gd name="T1" fmla="*/ 32 h 112"/>
                        <a:gd name="T2" fmla="*/ 113 w 137"/>
                        <a:gd name="T3" fmla="*/ 76 h 112"/>
                        <a:gd name="T4" fmla="*/ 88 w 137"/>
                        <a:gd name="T5" fmla="*/ 101 h 112"/>
                        <a:gd name="T6" fmla="*/ 69 w 137"/>
                        <a:gd name="T7" fmla="*/ 73 h 112"/>
                        <a:gd name="T8" fmla="*/ 54 w 137"/>
                        <a:gd name="T9" fmla="*/ 17 h 112"/>
                        <a:gd name="T10" fmla="*/ 114 w 137"/>
                        <a:gd name="T11" fmla="*/ 15 h 112"/>
                        <a:gd name="T12" fmla="*/ 137 w 137"/>
                        <a:gd name="T13" fmla="*/ 27 h 112"/>
                        <a:gd name="T14" fmla="*/ 135 w 137"/>
                        <a:gd name="T15" fmla="*/ 32 h 1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37" h="112">
                          <a:moveTo>
                            <a:pt x="135" y="32"/>
                          </a:moveTo>
                          <a:cubicBezTo>
                            <a:pt x="135" y="32"/>
                            <a:pt x="113" y="60"/>
                            <a:pt x="113" y="76"/>
                          </a:cubicBezTo>
                          <a:cubicBezTo>
                            <a:pt x="113" y="76"/>
                            <a:pt x="94" y="89"/>
                            <a:pt x="88" y="101"/>
                          </a:cubicBezTo>
                          <a:cubicBezTo>
                            <a:pt x="88" y="101"/>
                            <a:pt x="59" y="112"/>
                            <a:pt x="69" y="73"/>
                          </a:cubicBezTo>
                          <a:cubicBezTo>
                            <a:pt x="69" y="73"/>
                            <a:pt x="0" y="33"/>
                            <a:pt x="54" y="17"/>
                          </a:cubicBezTo>
                          <a:cubicBezTo>
                            <a:pt x="54" y="17"/>
                            <a:pt x="101" y="0"/>
                            <a:pt x="114" y="15"/>
                          </a:cubicBezTo>
                          <a:cubicBezTo>
                            <a:pt x="137" y="27"/>
                            <a:pt x="137" y="27"/>
                            <a:pt x="137" y="27"/>
                          </a:cubicBezTo>
                          <a:lnTo>
                            <a:pt x="135" y="32"/>
                          </a:lnTo>
                          <a:close/>
                        </a:path>
                      </a:pathLst>
                    </a:custGeom>
                    <a:solidFill>
                      <a:srgbClr val="F0A868"/>
                    </a:solidFill>
                    <a:ln w="15875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13" name="Freeform 9"/>
                    <p:cNvSpPr>
                      <a:spLocks/>
                    </p:cNvSpPr>
                    <p:nvPr/>
                  </p:nvSpPr>
                  <p:spPr bwMode="auto">
                    <a:xfrm>
                      <a:off x="415925" y="1755775"/>
                      <a:ext cx="295275" cy="531812"/>
                    </a:xfrm>
                    <a:custGeom>
                      <a:avLst/>
                      <a:gdLst>
                        <a:gd name="T0" fmla="*/ 0 w 79"/>
                        <a:gd name="T1" fmla="*/ 108 h 142"/>
                        <a:gd name="T2" fmla="*/ 46 w 79"/>
                        <a:gd name="T3" fmla="*/ 108 h 142"/>
                        <a:gd name="T4" fmla="*/ 75 w 79"/>
                        <a:gd name="T5" fmla="*/ 14 h 142"/>
                        <a:gd name="T6" fmla="*/ 75 w 79"/>
                        <a:gd name="T7" fmla="*/ 10 h 142"/>
                        <a:gd name="T8" fmla="*/ 52 w 79"/>
                        <a:gd name="T9" fmla="*/ 142 h 142"/>
                        <a:gd name="T10" fmla="*/ 0 w 79"/>
                        <a:gd name="T11" fmla="*/ 108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79" h="142">
                          <a:moveTo>
                            <a:pt x="0" y="108"/>
                          </a:moveTo>
                          <a:cubicBezTo>
                            <a:pt x="0" y="108"/>
                            <a:pt x="32" y="126"/>
                            <a:pt x="46" y="108"/>
                          </a:cubicBezTo>
                          <a:cubicBezTo>
                            <a:pt x="46" y="108"/>
                            <a:pt x="79" y="28"/>
                            <a:pt x="75" y="14"/>
                          </a:cubicBezTo>
                          <a:cubicBezTo>
                            <a:pt x="71" y="0"/>
                            <a:pt x="75" y="10"/>
                            <a:pt x="75" y="10"/>
                          </a:cubicBezTo>
                          <a:cubicBezTo>
                            <a:pt x="75" y="10"/>
                            <a:pt x="62" y="106"/>
                            <a:pt x="52" y="142"/>
                          </a:cubicBezTo>
                          <a:cubicBezTo>
                            <a:pt x="52" y="142"/>
                            <a:pt x="62" y="142"/>
                            <a:pt x="0" y="108"/>
                          </a:cubicBezTo>
                          <a:close/>
                        </a:path>
                      </a:pathLst>
                    </a:custGeom>
                    <a:solidFill>
                      <a:srgbClr val="F0A868"/>
                    </a:solidFill>
                    <a:ln w="15875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14" name="Freeform 10"/>
                    <p:cNvSpPr>
                      <a:spLocks/>
                    </p:cNvSpPr>
                    <p:nvPr/>
                  </p:nvSpPr>
                  <p:spPr bwMode="auto">
                    <a:xfrm>
                      <a:off x="688975" y="1778000"/>
                      <a:ext cx="522288" cy="1335087"/>
                    </a:xfrm>
                    <a:custGeom>
                      <a:avLst/>
                      <a:gdLst>
                        <a:gd name="T0" fmla="*/ 101 w 139"/>
                        <a:gd name="T1" fmla="*/ 0 h 356"/>
                        <a:gd name="T2" fmla="*/ 101 w 139"/>
                        <a:gd name="T3" fmla="*/ 179 h 356"/>
                        <a:gd name="T4" fmla="*/ 7 w 139"/>
                        <a:gd name="T5" fmla="*/ 356 h 356"/>
                        <a:gd name="T6" fmla="*/ 30 w 139"/>
                        <a:gd name="T7" fmla="*/ 324 h 356"/>
                        <a:gd name="T8" fmla="*/ 56 w 139"/>
                        <a:gd name="T9" fmla="*/ 272 h 356"/>
                        <a:gd name="T10" fmla="*/ 77 w 139"/>
                        <a:gd name="T11" fmla="*/ 203 h 356"/>
                        <a:gd name="T12" fmla="*/ 101 w 139"/>
                        <a:gd name="T13" fmla="*/ 0 h 3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9" h="356">
                          <a:moveTo>
                            <a:pt x="101" y="0"/>
                          </a:moveTo>
                          <a:cubicBezTo>
                            <a:pt x="101" y="0"/>
                            <a:pt x="90" y="125"/>
                            <a:pt x="101" y="179"/>
                          </a:cubicBezTo>
                          <a:cubicBezTo>
                            <a:pt x="101" y="179"/>
                            <a:pt x="139" y="313"/>
                            <a:pt x="7" y="356"/>
                          </a:cubicBezTo>
                          <a:cubicBezTo>
                            <a:pt x="7" y="356"/>
                            <a:pt x="0" y="353"/>
                            <a:pt x="30" y="324"/>
                          </a:cubicBezTo>
                          <a:cubicBezTo>
                            <a:pt x="30" y="324"/>
                            <a:pt x="32" y="312"/>
                            <a:pt x="56" y="272"/>
                          </a:cubicBezTo>
                          <a:cubicBezTo>
                            <a:pt x="56" y="272"/>
                            <a:pt x="65" y="263"/>
                            <a:pt x="77" y="203"/>
                          </a:cubicBezTo>
                          <a:cubicBezTo>
                            <a:pt x="77" y="203"/>
                            <a:pt x="77" y="79"/>
                            <a:pt x="101" y="0"/>
                          </a:cubicBezTo>
                          <a:close/>
                        </a:path>
                      </a:pathLst>
                    </a:custGeom>
                    <a:solidFill>
                      <a:srgbClr val="F0A868"/>
                    </a:solidFill>
                    <a:ln w="15875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15" name="Freeform 11"/>
                    <p:cNvSpPr>
                      <a:spLocks/>
                    </p:cNvSpPr>
                    <p:nvPr/>
                  </p:nvSpPr>
                  <p:spPr bwMode="auto">
                    <a:xfrm>
                      <a:off x="611188" y="2287588"/>
                      <a:ext cx="193675" cy="90487"/>
                    </a:xfrm>
                    <a:custGeom>
                      <a:avLst/>
                      <a:gdLst>
                        <a:gd name="T0" fmla="*/ 0 w 52"/>
                        <a:gd name="T1" fmla="*/ 0 h 24"/>
                        <a:gd name="T2" fmla="*/ 52 w 52"/>
                        <a:gd name="T3" fmla="*/ 13 h 24"/>
                        <a:gd name="T4" fmla="*/ 52 w 52"/>
                        <a:gd name="T5" fmla="*/ 24 h 24"/>
                        <a:gd name="T6" fmla="*/ 0 w 52"/>
                        <a:gd name="T7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52" h="24">
                          <a:moveTo>
                            <a:pt x="0" y="0"/>
                          </a:moveTo>
                          <a:cubicBezTo>
                            <a:pt x="0" y="0"/>
                            <a:pt x="52" y="24"/>
                            <a:pt x="52" y="13"/>
                          </a:cubicBezTo>
                          <a:cubicBezTo>
                            <a:pt x="52" y="24"/>
                            <a:pt x="52" y="24"/>
                            <a:pt x="52" y="24"/>
                          </a:cubicBezTo>
                          <a:cubicBezTo>
                            <a:pt x="52" y="24"/>
                            <a:pt x="18" y="6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0A868"/>
                    </a:solidFill>
                    <a:ln w="15875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16" name="Freeform 12"/>
                    <p:cNvSpPr>
                      <a:spLocks/>
                    </p:cNvSpPr>
                    <p:nvPr/>
                  </p:nvSpPr>
                  <p:spPr bwMode="auto">
                    <a:xfrm>
                      <a:off x="284163" y="2501900"/>
                      <a:ext cx="520700" cy="225425"/>
                    </a:xfrm>
                    <a:custGeom>
                      <a:avLst/>
                      <a:gdLst>
                        <a:gd name="T0" fmla="*/ 0 w 139"/>
                        <a:gd name="T1" fmla="*/ 0 h 60"/>
                        <a:gd name="T2" fmla="*/ 42 w 139"/>
                        <a:gd name="T3" fmla="*/ 36 h 60"/>
                        <a:gd name="T4" fmla="*/ 94 w 139"/>
                        <a:gd name="T5" fmla="*/ 48 h 60"/>
                        <a:gd name="T6" fmla="*/ 139 w 139"/>
                        <a:gd name="T7" fmla="*/ 60 h 60"/>
                        <a:gd name="T8" fmla="*/ 41 w 139"/>
                        <a:gd name="T9" fmla="*/ 42 h 60"/>
                        <a:gd name="T10" fmla="*/ 0 w 139"/>
                        <a:gd name="T11" fmla="*/ 45 h 60"/>
                        <a:gd name="T12" fmla="*/ 0 w 139"/>
                        <a:gd name="T13" fmla="*/ 0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9" h="60">
                          <a:moveTo>
                            <a:pt x="0" y="0"/>
                          </a:moveTo>
                          <a:cubicBezTo>
                            <a:pt x="0" y="0"/>
                            <a:pt x="14" y="21"/>
                            <a:pt x="42" y="36"/>
                          </a:cubicBezTo>
                          <a:cubicBezTo>
                            <a:pt x="56" y="43"/>
                            <a:pt x="73" y="48"/>
                            <a:pt x="94" y="48"/>
                          </a:cubicBezTo>
                          <a:cubicBezTo>
                            <a:pt x="94" y="48"/>
                            <a:pt x="139" y="49"/>
                            <a:pt x="139" y="60"/>
                          </a:cubicBezTo>
                          <a:cubicBezTo>
                            <a:pt x="139" y="60"/>
                            <a:pt x="68" y="46"/>
                            <a:pt x="41" y="42"/>
                          </a:cubicBezTo>
                          <a:cubicBezTo>
                            <a:pt x="41" y="42"/>
                            <a:pt x="3" y="37"/>
                            <a:pt x="0" y="45"/>
                          </a:cubicBezTo>
                          <a:cubicBezTo>
                            <a:pt x="0" y="45"/>
                            <a:pt x="8" y="13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0A868"/>
                    </a:solidFill>
                    <a:ln w="15875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17" name="Freeform 13"/>
                    <p:cNvSpPr>
                      <a:spLocks/>
                    </p:cNvSpPr>
                    <p:nvPr/>
                  </p:nvSpPr>
                  <p:spPr bwMode="auto">
                    <a:xfrm>
                      <a:off x="611188" y="1541463"/>
                      <a:ext cx="193675" cy="236537"/>
                    </a:xfrm>
                    <a:custGeom>
                      <a:avLst/>
                      <a:gdLst>
                        <a:gd name="T0" fmla="*/ 52 w 52"/>
                        <a:gd name="T1" fmla="*/ 0 h 63"/>
                        <a:gd name="T2" fmla="*/ 48 w 52"/>
                        <a:gd name="T3" fmla="*/ 3 h 63"/>
                        <a:gd name="T4" fmla="*/ 0 w 52"/>
                        <a:gd name="T5" fmla="*/ 24 h 63"/>
                        <a:gd name="T6" fmla="*/ 19 w 52"/>
                        <a:gd name="T7" fmla="*/ 63 h 63"/>
                        <a:gd name="T8" fmla="*/ 52 w 52"/>
                        <a:gd name="T9" fmla="*/ 0 h 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2" h="63">
                          <a:moveTo>
                            <a:pt x="52" y="0"/>
                          </a:moveTo>
                          <a:cubicBezTo>
                            <a:pt x="52" y="0"/>
                            <a:pt x="50" y="1"/>
                            <a:pt x="48" y="3"/>
                          </a:cubicBezTo>
                          <a:cubicBezTo>
                            <a:pt x="42" y="8"/>
                            <a:pt x="24" y="20"/>
                            <a:pt x="0" y="24"/>
                          </a:cubicBezTo>
                          <a:cubicBezTo>
                            <a:pt x="0" y="24"/>
                            <a:pt x="8" y="43"/>
                            <a:pt x="19" y="63"/>
                          </a:cubicBezTo>
                          <a:cubicBezTo>
                            <a:pt x="19" y="63"/>
                            <a:pt x="52" y="24"/>
                            <a:pt x="52" y="0"/>
                          </a:cubicBezTo>
                          <a:close/>
                        </a:path>
                      </a:pathLst>
                    </a:custGeom>
                    <a:solidFill>
                      <a:srgbClr val="F0A868"/>
                    </a:solidFill>
                    <a:ln w="15875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</p:grpSp>
              <p:sp>
                <p:nvSpPr>
                  <p:cNvPr id="109" name="Freeform 25"/>
                  <p:cNvSpPr>
                    <a:spLocks/>
                  </p:cNvSpPr>
                  <p:nvPr/>
                </p:nvSpPr>
                <p:spPr bwMode="auto">
                  <a:xfrm>
                    <a:off x="4260050" y="4536504"/>
                    <a:ext cx="311173" cy="1019933"/>
                  </a:xfrm>
                  <a:custGeom>
                    <a:avLst/>
                    <a:gdLst>
                      <a:gd name="T0" fmla="*/ 73 w 78"/>
                      <a:gd name="T1" fmla="*/ 0 h 248"/>
                      <a:gd name="T2" fmla="*/ 29 w 78"/>
                      <a:gd name="T3" fmla="*/ 132 h 248"/>
                      <a:gd name="T4" fmla="*/ 29 w 78"/>
                      <a:gd name="T5" fmla="*/ 248 h 248"/>
                      <a:gd name="T6" fmla="*/ 59 w 78"/>
                      <a:gd name="T7" fmla="*/ 86 h 248"/>
                      <a:gd name="T8" fmla="*/ 73 w 78"/>
                      <a:gd name="T9" fmla="*/ 0 h 248"/>
                      <a:gd name="connsiteX0" fmla="*/ 9310 w 9310"/>
                      <a:gd name="connsiteY0" fmla="*/ 0 h 10047"/>
                      <a:gd name="connsiteX1" fmla="*/ 1960 w 9310"/>
                      <a:gd name="connsiteY1" fmla="*/ 5370 h 10047"/>
                      <a:gd name="connsiteX2" fmla="*/ 1960 w 9310"/>
                      <a:gd name="connsiteY2" fmla="*/ 10047 h 10047"/>
                      <a:gd name="connsiteX3" fmla="*/ 5806 w 9310"/>
                      <a:gd name="connsiteY3" fmla="*/ 3515 h 10047"/>
                      <a:gd name="connsiteX4" fmla="*/ 9310 w 9310"/>
                      <a:gd name="connsiteY4" fmla="*/ 0 h 10047"/>
                      <a:gd name="connsiteX0" fmla="*/ 10000 w 10000"/>
                      <a:gd name="connsiteY0" fmla="*/ 0 h 10000"/>
                      <a:gd name="connsiteX1" fmla="*/ 2105 w 10000"/>
                      <a:gd name="connsiteY1" fmla="*/ 5345 h 10000"/>
                      <a:gd name="connsiteX2" fmla="*/ 2105 w 10000"/>
                      <a:gd name="connsiteY2" fmla="*/ 10000 h 10000"/>
                      <a:gd name="connsiteX3" fmla="*/ 6874 w 10000"/>
                      <a:gd name="connsiteY3" fmla="*/ 3149 h 10000"/>
                      <a:gd name="connsiteX4" fmla="*/ 10000 w 10000"/>
                      <a:gd name="connsiteY4" fmla="*/ 0 h 10000"/>
                      <a:gd name="connsiteX0" fmla="*/ 10000 w 10000"/>
                      <a:gd name="connsiteY0" fmla="*/ 0 h 10000"/>
                      <a:gd name="connsiteX1" fmla="*/ 2105 w 10000"/>
                      <a:gd name="connsiteY1" fmla="*/ 5345 h 10000"/>
                      <a:gd name="connsiteX2" fmla="*/ 2105 w 10000"/>
                      <a:gd name="connsiteY2" fmla="*/ 10000 h 10000"/>
                      <a:gd name="connsiteX3" fmla="*/ 6874 w 10000"/>
                      <a:gd name="connsiteY3" fmla="*/ 3149 h 10000"/>
                      <a:gd name="connsiteX4" fmla="*/ 10000 w 10000"/>
                      <a:gd name="connsiteY4" fmla="*/ 0 h 10000"/>
                      <a:gd name="connsiteX0" fmla="*/ 10000 w 10022"/>
                      <a:gd name="connsiteY0" fmla="*/ 0 h 10000"/>
                      <a:gd name="connsiteX1" fmla="*/ 2105 w 10022"/>
                      <a:gd name="connsiteY1" fmla="*/ 5345 h 10000"/>
                      <a:gd name="connsiteX2" fmla="*/ 2105 w 10022"/>
                      <a:gd name="connsiteY2" fmla="*/ 10000 h 10000"/>
                      <a:gd name="connsiteX3" fmla="*/ 6874 w 10022"/>
                      <a:gd name="connsiteY3" fmla="*/ 3149 h 10000"/>
                      <a:gd name="connsiteX4" fmla="*/ 10000 w 10022"/>
                      <a:gd name="connsiteY4" fmla="*/ 0 h 10000"/>
                      <a:gd name="connsiteX0" fmla="*/ 10000 w 10024"/>
                      <a:gd name="connsiteY0" fmla="*/ 0 h 10000"/>
                      <a:gd name="connsiteX1" fmla="*/ 2105 w 10024"/>
                      <a:gd name="connsiteY1" fmla="*/ 5345 h 10000"/>
                      <a:gd name="connsiteX2" fmla="*/ 2105 w 10024"/>
                      <a:gd name="connsiteY2" fmla="*/ 10000 h 10000"/>
                      <a:gd name="connsiteX3" fmla="*/ 7113 w 10024"/>
                      <a:gd name="connsiteY3" fmla="*/ 3359 h 10000"/>
                      <a:gd name="connsiteX4" fmla="*/ 10000 w 10024"/>
                      <a:gd name="connsiteY4" fmla="*/ 0 h 10000"/>
                      <a:gd name="connsiteX0" fmla="*/ 10405 w 10429"/>
                      <a:gd name="connsiteY0" fmla="*/ 0 h 10000"/>
                      <a:gd name="connsiteX1" fmla="*/ 2510 w 10429"/>
                      <a:gd name="connsiteY1" fmla="*/ 5345 h 10000"/>
                      <a:gd name="connsiteX2" fmla="*/ 1951 w 10429"/>
                      <a:gd name="connsiteY2" fmla="*/ 10000 h 10000"/>
                      <a:gd name="connsiteX3" fmla="*/ 7518 w 10429"/>
                      <a:gd name="connsiteY3" fmla="*/ 3359 h 10000"/>
                      <a:gd name="connsiteX4" fmla="*/ 10405 w 10429"/>
                      <a:gd name="connsiteY4" fmla="*/ 0 h 10000"/>
                      <a:gd name="connsiteX0" fmla="*/ 10405 w 10429"/>
                      <a:gd name="connsiteY0" fmla="*/ 0 h 10000"/>
                      <a:gd name="connsiteX1" fmla="*/ 2510 w 10429"/>
                      <a:gd name="connsiteY1" fmla="*/ 5345 h 10000"/>
                      <a:gd name="connsiteX2" fmla="*/ 1951 w 10429"/>
                      <a:gd name="connsiteY2" fmla="*/ 10000 h 10000"/>
                      <a:gd name="connsiteX3" fmla="*/ 7518 w 10429"/>
                      <a:gd name="connsiteY3" fmla="*/ 3359 h 10000"/>
                      <a:gd name="connsiteX4" fmla="*/ 10405 w 10429"/>
                      <a:gd name="connsiteY4" fmla="*/ 0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0429" h="10000">
                        <a:moveTo>
                          <a:pt x="10405" y="0"/>
                        </a:moveTo>
                        <a:cubicBezTo>
                          <a:pt x="10405" y="0"/>
                          <a:pt x="3919" y="3678"/>
                          <a:pt x="2510" y="5345"/>
                        </a:cubicBezTo>
                        <a:cubicBezTo>
                          <a:pt x="1101" y="7012"/>
                          <a:pt x="-2042" y="6548"/>
                          <a:pt x="1951" y="10000"/>
                        </a:cubicBezTo>
                        <a:cubicBezTo>
                          <a:pt x="1951" y="10000"/>
                          <a:pt x="9098" y="8887"/>
                          <a:pt x="7518" y="3359"/>
                        </a:cubicBezTo>
                        <a:cubicBezTo>
                          <a:pt x="7518" y="3359"/>
                          <a:pt x="10740" y="1815"/>
                          <a:pt x="10405" y="0"/>
                        </a:cubicBezTo>
                        <a:close/>
                      </a:path>
                    </a:pathLst>
                  </a:custGeom>
                  <a:solidFill>
                    <a:srgbClr val="F0A868"/>
                  </a:solidFill>
                  <a:ln w="14288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97" name="Gruppieren 96"/>
                <p:cNvGrpSpPr/>
                <p:nvPr/>
              </p:nvGrpSpPr>
              <p:grpSpPr>
                <a:xfrm>
                  <a:off x="8097227" y="2060848"/>
                  <a:ext cx="1965633" cy="4219219"/>
                  <a:chOff x="8097227" y="2060848"/>
                  <a:chExt cx="1965633" cy="4219219"/>
                </a:xfrm>
              </p:grpSpPr>
              <p:grpSp>
                <p:nvGrpSpPr>
                  <p:cNvPr id="98" name="Gruppieren 97"/>
                  <p:cNvGrpSpPr/>
                  <p:nvPr/>
                </p:nvGrpSpPr>
                <p:grpSpPr>
                  <a:xfrm flipH="1">
                    <a:off x="8097227" y="2060848"/>
                    <a:ext cx="1965633" cy="4219219"/>
                    <a:chOff x="-1051548" y="773113"/>
                    <a:chExt cx="2875457" cy="6172152"/>
                  </a:xfrm>
                </p:grpSpPr>
                <p:sp>
                  <p:nvSpPr>
                    <p:cNvPr id="100" name="Freeform 6"/>
                    <p:cNvSpPr>
                      <a:spLocks/>
                    </p:cNvSpPr>
                    <p:nvPr/>
                  </p:nvSpPr>
                  <p:spPr bwMode="auto">
                    <a:xfrm>
                      <a:off x="-1051548" y="773113"/>
                      <a:ext cx="2875457" cy="6172152"/>
                    </a:xfrm>
                    <a:custGeom>
                      <a:avLst/>
                      <a:gdLst>
                        <a:gd name="T0" fmla="*/ 492 w 752"/>
                        <a:gd name="T1" fmla="*/ 1528 h 1528"/>
                        <a:gd name="T2" fmla="*/ 600 w 752"/>
                        <a:gd name="T3" fmla="*/ 1226 h 1528"/>
                        <a:gd name="T4" fmla="*/ 660 w 752"/>
                        <a:gd name="T5" fmla="*/ 1062 h 1528"/>
                        <a:gd name="T6" fmla="*/ 669 w 752"/>
                        <a:gd name="T7" fmla="*/ 951 h 1528"/>
                        <a:gd name="T8" fmla="*/ 648 w 752"/>
                        <a:gd name="T9" fmla="*/ 600 h 1528"/>
                        <a:gd name="T10" fmla="*/ 628 w 752"/>
                        <a:gd name="T11" fmla="*/ 513 h 1528"/>
                        <a:gd name="T12" fmla="*/ 640 w 752"/>
                        <a:gd name="T13" fmla="*/ 415 h 1528"/>
                        <a:gd name="T14" fmla="*/ 600 w 752"/>
                        <a:gd name="T15" fmla="*/ 202 h 1528"/>
                        <a:gd name="T16" fmla="*/ 488 w 752"/>
                        <a:gd name="T17" fmla="*/ 324 h 1528"/>
                        <a:gd name="T18" fmla="*/ 477 w 752"/>
                        <a:gd name="T19" fmla="*/ 466 h 1528"/>
                        <a:gd name="T20" fmla="*/ 452 w 752"/>
                        <a:gd name="T21" fmla="*/ 543 h 1528"/>
                        <a:gd name="T22" fmla="*/ 429 w 752"/>
                        <a:gd name="T23" fmla="*/ 531 h 1528"/>
                        <a:gd name="T24" fmla="*/ 429 w 752"/>
                        <a:gd name="T25" fmla="*/ 0 h 1528"/>
                        <a:gd name="T26" fmla="*/ 266 w 752"/>
                        <a:gd name="T27" fmla="*/ 218 h 1528"/>
                        <a:gd name="T28" fmla="*/ 228 w 752"/>
                        <a:gd name="T29" fmla="*/ 289 h 1528"/>
                        <a:gd name="T30" fmla="*/ 224 w 752"/>
                        <a:gd name="T31" fmla="*/ 295 h 1528"/>
                        <a:gd name="T32" fmla="*/ 191 w 752"/>
                        <a:gd name="T33" fmla="*/ 422 h 1528"/>
                        <a:gd name="T34" fmla="*/ 177 w 752"/>
                        <a:gd name="T35" fmla="*/ 477 h 1528"/>
                        <a:gd name="T36" fmla="*/ 147 w 752"/>
                        <a:gd name="T37" fmla="*/ 532 h 1528"/>
                        <a:gd name="T38" fmla="*/ 156 w 752"/>
                        <a:gd name="T39" fmla="*/ 618 h 1528"/>
                        <a:gd name="T40" fmla="*/ 221 w 752"/>
                        <a:gd name="T41" fmla="*/ 927 h 1528"/>
                        <a:gd name="T42" fmla="*/ 140 w 752"/>
                        <a:gd name="T43" fmla="*/ 1295 h 1528"/>
                        <a:gd name="T44" fmla="*/ 0 w 752"/>
                        <a:gd name="T45" fmla="*/ 1515 h 1528"/>
                        <a:gd name="T46" fmla="*/ 492 w 752"/>
                        <a:gd name="T47" fmla="*/ 1528 h 1528"/>
                        <a:gd name="connsiteX0" fmla="*/ 5826 w 9313"/>
                        <a:gd name="connsiteY0" fmla="*/ 10770 h 10770"/>
                        <a:gd name="connsiteX1" fmla="*/ 7979 w 9313"/>
                        <a:gd name="connsiteY1" fmla="*/ 8024 h 10770"/>
                        <a:gd name="connsiteX2" fmla="*/ 8777 w 9313"/>
                        <a:gd name="connsiteY2" fmla="*/ 6950 h 10770"/>
                        <a:gd name="connsiteX3" fmla="*/ 8896 w 9313"/>
                        <a:gd name="connsiteY3" fmla="*/ 6224 h 10770"/>
                        <a:gd name="connsiteX4" fmla="*/ 8617 w 9313"/>
                        <a:gd name="connsiteY4" fmla="*/ 3927 h 10770"/>
                        <a:gd name="connsiteX5" fmla="*/ 8351 w 9313"/>
                        <a:gd name="connsiteY5" fmla="*/ 3357 h 10770"/>
                        <a:gd name="connsiteX6" fmla="*/ 8511 w 9313"/>
                        <a:gd name="connsiteY6" fmla="*/ 2716 h 10770"/>
                        <a:gd name="connsiteX7" fmla="*/ 7979 w 9313"/>
                        <a:gd name="connsiteY7" fmla="*/ 1322 h 10770"/>
                        <a:gd name="connsiteX8" fmla="*/ 6489 w 9313"/>
                        <a:gd name="connsiteY8" fmla="*/ 2120 h 10770"/>
                        <a:gd name="connsiteX9" fmla="*/ 6343 w 9313"/>
                        <a:gd name="connsiteY9" fmla="*/ 3050 h 10770"/>
                        <a:gd name="connsiteX10" fmla="*/ 6011 w 9313"/>
                        <a:gd name="connsiteY10" fmla="*/ 3554 h 10770"/>
                        <a:gd name="connsiteX11" fmla="*/ 5705 w 9313"/>
                        <a:gd name="connsiteY11" fmla="*/ 3475 h 10770"/>
                        <a:gd name="connsiteX12" fmla="*/ 5705 w 9313"/>
                        <a:gd name="connsiteY12" fmla="*/ 0 h 10770"/>
                        <a:gd name="connsiteX13" fmla="*/ 3537 w 9313"/>
                        <a:gd name="connsiteY13" fmla="*/ 1427 h 10770"/>
                        <a:gd name="connsiteX14" fmla="*/ 3032 w 9313"/>
                        <a:gd name="connsiteY14" fmla="*/ 1891 h 10770"/>
                        <a:gd name="connsiteX15" fmla="*/ 2979 w 9313"/>
                        <a:gd name="connsiteY15" fmla="*/ 1931 h 10770"/>
                        <a:gd name="connsiteX16" fmla="*/ 2540 w 9313"/>
                        <a:gd name="connsiteY16" fmla="*/ 2762 h 10770"/>
                        <a:gd name="connsiteX17" fmla="*/ 2354 w 9313"/>
                        <a:gd name="connsiteY17" fmla="*/ 3122 h 10770"/>
                        <a:gd name="connsiteX18" fmla="*/ 1955 w 9313"/>
                        <a:gd name="connsiteY18" fmla="*/ 3482 h 10770"/>
                        <a:gd name="connsiteX19" fmla="*/ 2074 w 9313"/>
                        <a:gd name="connsiteY19" fmla="*/ 4045 h 10770"/>
                        <a:gd name="connsiteX20" fmla="*/ 2939 w 9313"/>
                        <a:gd name="connsiteY20" fmla="*/ 6067 h 10770"/>
                        <a:gd name="connsiteX21" fmla="*/ 1862 w 9313"/>
                        <a:gd name="connsiteY21" fmla="*/ 8475 h 10770"/>
                        <a:gd name="connsiteX22" fmla="*/ 0 w 9313"/>
                        <a:gd name="connsiteY22" fmla="*/ 9915 h 10770"/>
                        <a:gd name="connsiteX23" fmla="*/ 5826 w 9313"/>
                        <a:gd name="connsiteY23" fmla="*/ 10770 h 10770"/>
                        <a:gd name="connsiteX0" fmla="*/ 7201 w 10945"/>
                        <a:gd name="connsiteY0" fmla="*/ 10000 h 10000"/>
                        <a:gd name="connsiteX1" fmla="*/ 9513 w 10945"/>
                        <a:gd name="connsiteY1" fmla="*/ 7450 h 10000"/>
                        <a:gd name="connsiteX2" fmla="*/ 10369 w 10945"/>
                        <a:gd name="connsiteY2" fmla="*/ 6453 h 10000"/>
                        <a:gd name="connsiteX3" fmla="*/ 10497 w 10945"/>
                        <a:gd name="connsiteY3" fmla="*/ 5779 h 10000"/>
                        <a:gd name="connsiteX4" fmla="*/ 10198 w 10945"/>
                        <a:gd name="connsiteY4" fmla="*/ 3646 h 10000"/>
                        <a:gd name="connsiteX5" fmla="*/ 9912 w 10945"/>
                        <a:gd name="connsiteY5" fmla="*/ 3117 h 10000"/>
                        <a:gd name="connsiteX6" fmla="*/ 10084 w 10945"/>
                        <a:gd name="connsiteY6" fmla="*/ 2522 h 10000"/>
                        <a:gd name="connsiteX7" fmla="*/ 9513 w 10945"/>
                        <a:gd name="connsiteY7" fmla="*/ 1227 h 10000"/>
                        <a:gd name="connsiteX8" fmla="*/ 7913 w 10945"/>
                        <a:gd name="connsiteY8" fmla="*/ 1968 h 10000"/>
                        <a:gd name="connsiteX9" fmla="*/ 7756 w 10945"/>
                        <a:gd name="connsiteY9" fmla="*/ 2832 h 10000"/>
                        <a:gd name="connsiteX10" fmla="*/ 7399 w 10945"/>
                        <a:gd name="connsiteY10" fmla="*/ 3300 h 10000"/>
                        <a:gd name="connsiteX11" fmla="*/ 7071 w 10945"/>
                        <a:gd name="connsiteY11" fmla="*/ 3227 h 10000"/>
                        <a:gd name="connsiteX12" fmla="*/ 7071 w 10945"/>
                        <a:gd name="connsiteY12" fmla="*/ 0 h 10000"/>
                        <a:gd name="connsiteX13" fmla="*/ 4743 w 10945"/>
                        <a:gd name="connsiteY13" fmla="*/ 1325 h 10000"/>
                        <a:gd name="connsiteX14" fmla="*/ 4201 w 10945"/>
                        <a:gd name="connsiteY14" fmla="*/ 1756 h 10000"/>
                        <a:gd name="connsiteX15" fmla="*/ 4144 w 10945"/>
                        <a:gd name="connsiteY15" fmla="*/ 1793 h 10000"/>
                        <a:gd name="connsiteX16" fmla="*/ 3672 w 10945"/>
                        <a:gd name="connsiteY16" fmla="*/ 2565 h 10000"/>
                        <a:gd name="connsiteX17" fmla="*/ 3473 w 10945"/>
                        <a:gd name="connsiteY17" fmla="*/ 2899 h 10000"/>
                        <a:gd name="connsiteX18" fmla="*/ 3044 w 10945"/>
                        <a:gd name="connsiteY18" fmla="*/ 3233 h 10000"/>
                        <a:gd name="connsiteX19" fmla="*/ 3172 w 10945"/>
                        <a:gd name="connsiteY19" fmla="*/ 3756 h 10000"/>
                        <a:gd name="connsiteX20" fmla="*/ 4101 w 10945"/>
                        <a:gd name="connsiteY20" fmla="*/ 5633 h 10000"/>
                        <a:gd name="connsiteX21" fmla="*/ 2944 w 10945"/>
                        <a:gd name="connsiteY21" fmla="*/ 7869 h 10000"/>
                        <a:gd name="connsiteX22" fmla="*/ 0 w 10945"/>
                        <a:gd name="connsiteY22" fmla="*/ 9981 h 10000"/>
                        <a:gd name="connsiteX23" fmla="*/ 7201 w 10945"/>
                        <a:gd name="connsiteY23" fmla="*/ 10000 h 100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</a:cxnLst>
                      <a:rect l="l" t="t" r="r" b="b"/>
                      <a:pathLst>
                        <a:path w="10945" h="10000">
                          <a:moveTo>
                            <a:pt x="7201" y="10000"/>
                          </a:moveTo>
                          <a:lnTo>
                            <a:pt x="9513" y="7450"/>
                          </a:lnTo>
                          <a:cubicBezTo>
                            <a:pt x="10041" y="6859"/>
                            <a:pt x="10397" y="7207"/>
                            <a:pt x="10369" y="6453"/>
                          </a:cubicBezTo>
                          <a:cubicBezTo>
                            <a:pt x="10369" y="6453"/>
                            <a:pt x="10383" y="5949"/>
                            <a:pt x="10497" y="5779"/>
                          </a:cubicBezTo>
                          <a:cubicBezTo>
                            <a:pt x="10497" y="5779"/>
                            <a:pt x="11683" y="4703"/>
                            <a:pt x="10198" y="3646"/>
                          </a:cubicBezTo>
                          <a:cubicBezTo>
                            <a:pt x="10198" y="3646"/>
                            <a:pt x="10026" y="3245"/>
                            <a:pt x="9912" y="3117"/>
                          </a:cubicBezTo>
                          <a:cubicBezTo>
                            <a:pt x="9912" y="3117"/>
                            <a:pt x="9941" y="2832"/>
                            <a:pt x="10084" y="2522"/>
                          </a:cubicBezTo>
                          <a:cubicBezTo>
                            <a:pt x="10084" y="2522"/>
                            <a:pt x="10712" y="1385"/>
                            <a:pt x="9513" y="1227"/>
                          </a:cubicBezTo>
                          <a:cubicBezTo>
                            <a:pt x="9513" y="1227"/>
                            <a:pt x="8170" y="1008"/>
                            <a:pt x="7913" y="1968"/>
                          </a:cubicBezTo>
                          <a:cubicBezTo>
                            <a:pt x="7913" y="1968"/>
                            <a:pt x="7727" y="2431"/>
                            <a:pt x="7756" y="2832"/>
                          </a:cubicBezTo>
                          <a:cubicBezTo>
                            <a:pt x="7756" y="2832"/>
                            <a:pt x="7499" y="3263"/>
                            <a:pt x="7399" y="3300"/>
                          </a:cubicBezTo>
                          <a:cubicBezTo>
                            <a:pt x="7399" y="3300"/>
                            <a:pt x="7099" y="3245"/>
                            <a:pt x="7071" y="3227"/>
                          </a:cubicBezTo>
                          <a:lnTo>
                            <a:pt x="7071" y="0"/>
                          </a:lnTo>
                          <a:cubicBezTo>
                            <a:pt x="7071" y="0"/>
                            <a:pt x="5214" y="1008"/>
                            <a:pt x="4743" y="1325"/>
                          </a:cubicBezTo>
                          <a:lnTo>
                            <a:pt x="4201" y="1756"/>
                          </a:lnTo>
                          <a:cubicBezTo>
                            <a:pt x="4172" y="1774"/>
                            <a:pt x="4158" y="1786"/>
                            <a:pt x="4144" y="1793"/>
                          </a:cubicBezTo>
                          <a:cubicBezTo>
                            <a:pt x="4044" y="1853"/>
                            <a:pt x="3772" y="2357"/>
                            <a:pt x="3672" y="2565"/>
                          </a:cubicBezTo>
                          <a:cubicBezTo>
                            <a:pt x="3672" y="2565"/>
                            <a:pt x="3473" y="2734"/>
                            <a:pt x="3473" y="2899"/>
                          </a:cubicBezTo>
                          <a:cubicBezTo>
                            <a:pt x="3473" y="2899"/>
                            <a:pt x="3201" y="3172"/>
                            <a:pt x="3044" y="3233"/>
                          </a:cubicBezTo>
                          <a:cubicBezTo>
                            <a:pt x="3044" y="3233"/>
                            <a:pt x="2759" y="3488"/>
                            <a:pt x="3172" y="3756"/>
                          </a:cubicBezTo>
                          <a:cubicBezTo>
                            <a:pt x="3172" y="3756"/>
                            <a:pt x="4101" y="5214"/>
                            <a:pt x="4101" y="5633"/>
                          </a:cubicBezTo>
                          <a:cubicBezTo>
                            <a:pt x="4101" y="5633"/>
                            <a:pt x="4643" y="6787"/>
                            <a:pt x="2944" y="7869"/>
                          </a:cubicBezTo>
                          <a:lnTo>
                            <a:pt x="0" y="9981"/>
                          </a:lnTo>
                          <a:lnTo>
                            <a:pt x="7201" y="10000"/>
                          </a:lnTo>
                          <a:close/>
                        </a:path>
                      </a:pathLst>
                    </a:custGeom>
                    <a:solidFill>
                      <a:srgbClr val="F8C080"/>
                    </a:solidFill>
                    <a:ln w="15875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01" name="Freeform 7"/>
                    <p:cNvSpPr>
                      <a:spLocks/>
                    </p:cNvSpPr>
                    <p:nvPr/>
                  </p:nvSpPr>
                  <p:spPr bwMode="auto">
                    <a:xfrm>
                      <a:off x="1131888" y="1406525"/>
                      <a:ext cx="431800" cy="514350"/>
                    </a:xfrm>
                    <a:custGeom>
                      <a:avLst/>
                      <a:gdLst>
                        <a:gd name="T0" fmla="*/ 9 w 115"/>
                        <a:gd name="T1" fmla="*/ 122 h 137"/>
                        <a:gd name="T2" fmla="*/ 97 w 115"/>
                        <a:gd name="T3" fmla="*/ 137 h 137"/>
                        <a:gd name="T4" fmla="*/ 111 w 115"/>
                        <a:gd name="T5" fmla="*/ 91 h 137"/>
                        <a:gd name="T6" fmla="*/ 22 w 115"/>
                        <a:gd name="T7" fmla="*/ 53 h 137"/>
                        <a:gd name="T8" fmla="*/ 9 w 115"/>
                        <a:gd name="T9" fmla="*/ 122 h 1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5" h="137">
                          <a:moveTo>
                            <a:pt x="9" y="122"/>
                          </a:moveTo>
                          <a:cubicBezTo>
                            <a:pt x="9" y="122"/>
                            <a:pt x="80" y="119"/>
                            <a:pt x="97" y="137"/>
                          </a:cubicBezTo>
                          <a:cubicBezTo>
                            <a:pt x="97" y="137"/>
                            <a:pt x="115" y="112"/>
                            <a:pt x="111" y="91"/>
                          </a:cubicBezTo>
                          <a:cubicBezTo>
                            <a:pt x="111" y="91"/>
                            <a:pt x="95" y="0"/>
                            <a:pt x="22" y="53"/>
                          </a:cubicBezTo>
                          <a:cubicBezTo>
                            <a:pt x="22" y="53"/>
                            <a:pt x="0" y="80"/>
                            <a:pt x="9" y="122"/>
                          </a:cubicBezTo>
                          <a:close/>
                        </a:path>
                      </a:pathLst>
                    </a:custGeom>
                    <a:solidFill>
                      <a:srgbClr val="F9C998"/>
                    </a:solidFill>
                    <a:ln w="15875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02" name="Freeform 8"/>
                    <p:cNvSpPr>
                      <a:spLocks/>
                    </p:cNvSpPr>
                    <p:nvPr/>
                  </p:nvSpPr>
                  <p:spPr bwMode="auto">
                    <a:xfrm>
                      <a:off x="415925" y="2719494"/>
                      <a:ext cx="514350" cy="420687"/>
                    </a:xfrm>
                    <a:custGeom>
                      <a:avLst/>
                      <a:gdLst>
                        <a:gd name="T0" fmla="*/ 135 w 137"/>
                        <a:gd name="T1" fmla="*/ 32 h 112"/>
                        <a:gd name="T2" fmla="*/ 113 w 137"/>
                        <a:gd name="T3" fmla="*/ 76 h 112"/>
                        <a:gd name="T4" fmla="*/ 88 w 137"/>
                        <a:gd name="T5" fmla="*/ 101 h 112"/>
                        <a:gd name="T6" fmla="*/ 69 w 137"/>
                        <a:gd name="T7" fmla="*/ 73 h 112"/>
                        <a:gd name="T8" fmla="*/ 54 w 137"/>
                        <a:gd name="T9" fmla="*/ 17 h 112"/>
                        <a:gd name="T10" fmla="*/ 114 w 137"/>
                        <a:gd name="T11" fmla="*/ 15 h 112"/>
                        <a:gd name="T12" fmla="*/ 137 w 137"/>
                        <a:gd name="T13" fmla="*/ 27 h 112"/>
                        <a:gd name="T14" fmla="*/ 135 w 137"/>
                        <a:gd name="T15" fmla="*/ 32 h 1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37" h="112">
                          <a:moveTo>
                            <a:pt x="135" y="32"/>
                          </a:moveTo>
                          <a:cubicBezTo>
                            <a:pt x="135" y="32"/>
                            <a:pt x="113" y="60"/>
                            <a:pt x="113" y="76"/>
                          </a:cubicBezTo>
                          <a:cubicBezTo>
                            <a:pt x="113" y="76"/>
                            <a:pt x="94" y="89"/>
                            <a:pt x="88" y="101"/>
                          </a:cubicBezTo>
                          <a:cubicBezTo>
                            <a:pt x="88" y="101"/>
                            <a:pt x="59" y="112"/>
                            <a:pt x="69" y="73"/>
                          </a:cubicBezTo>
                          <a:cubicBezTo>
                            <a:pt x="69" y="73"/>
                            <a:pt x="0" y="33"/>
                            <a:pt x="54" y="17"/>
                          </a:cubicBezTo>
                          <a:cubicBezTo>
                            <a:pt x="54" y="17"/>
                            <a:pt x="101" y="0"/>
                            <a:pt x="114" y="15"/>
                          </a:cubicBezTo>
                          <a:cubicBezTo>
                            <a:pt x="137" y="27"/>
                            <a:pt x="137" y="27"/>
                            <a:pt x="137" y="27"/>
                          </a:cubicBezTo>
                          <a:lnTo>
                            <a:pt x="135" y="32"/>
                          </a:lnTo>
                          <a:close/>
                        </a:path>
                      </a:pathLst>
                    </a:custGeom>
                    <a:solidFill>
                      <a:srgbClr val="F0A868"/>
                    </a:solidFill>
                    <a:ln w="15875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03" name="Freeform 9"/>
                    <p:cNvSpPr>
                      <a:spLocks/>
                    </p:cNvSpPr>
                    <p:nvPr/>
                  </p:nvSpPr>
                  <p:spPr bwMode="auto">
                    <a:xfrm>
                      <a:off x="415925" y="1755775"/>
                      <a:ext cx="295275" cy="531812"/>
                    </a:xfrm>
                    <a:custGeom>
                      <a:avLst/>
                      <a:gdLst>
                        <a:gd name="T0" fmla="*/ 0 w 79"/>
                        <a:gd name="T1" fmla="*/ 108 h 142"/>
                        <a:gd name="T2" fmla="*/ 46 w 79"/>
                        <a:gd name="T3" fmla="*/ 108 h 142"/>
                        <a:gd name="T4" fmla="*/ 75 w 79"/>
                        <a:gd name="T5" fmla="*/ 14 h 142"/>
                        <a:gd name="T6" fmla="*/ 75 w 79"/>
                        <a:gd name="T7" fmla="*/ 10 h 142"/>
                        <a:gd name="T8" fmla="*/ 52 w 79"/>
                        <a:gd name="T9" fmla="*/ 142 h 142"/>
                        <a:gd name="T10" fmla="*/ 0 w 79"/>
                        <a:gd name="T11" fmla="*/ 108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79" h="142">
                          <a:moveTo>
                            <a:pt x="0" y="108"/>
                          </a:moveTo>
                          <a:cubicBezTo>
                            <a:pt x="0" y="108"/>
                            <a:pt x="32" y="126"/>
                            <a:pt x="46" y="108"/>
                          </a:cubicBezTo>
                          <a:cubicBezTo>
                            <a:pt x="46" y="108"/>
                            <a:pt x="79" y="28"/>
                            <a:pt x="75" y="14"/>
                          </a:cubicBezTo>
                          <a:cubicBezTo>
                            <a:pt x="71" y="0"/>
                            <a:pt x="75" y="10"/>
                            <a:pt x="75" y="10"/>
                          </a:cubicBezTo>
                          <a:cubicBezTo>
                            <a:pt x="75" y="10"/>
                            <a:pt x="62" y="106"/>
                            <a:pt x="52" y="142"/>
                          </a:cubicBezTo>
                          <a:cubicBezTo>
                            <a:pt x="52" y="142"/>
                            <a:pt x="62" y="142"/>
                            <a:pt x="0" y="108"/>
                          </a:cubicBezTo>
                          <a:close/>
                        </a:path>
                      </a:pathLst>
                    </a:custGeom>
                    <a:solidFill>
                      <a:srgbClr val="F0A868"/>
                    </a:solidFill>
                    <a:ln w="15875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04" name="Freeform 10"/>
                    <p:cNvSpPr>
                      <a:spLocks/>
                    </p:cNvSpPr>
                    <p:nvPr/>
                  </p:nvSpPr>
                  <p:spPr bwMode="auto">
                    <a:xfrm>
                      <a:off x="688975" y="1778000"/>
                      <a:ext cx="522288" cy="1335087"/>
                    </a:xfrm>
                    <a:custGeom>
                      <a:avLst/>
                      <a:gdLst>
                        <a:gd name="T0" fmla="*/ 101 w 139"/>
                        <a:gd name="T1" fmla="*/ 0 h 356"/>
                        <a:gd name="T2" fmla="*/ 101 w 139"/>
                        <a:gd name="T3" fmla="*/ 179 h 356"/>
                        <a:gd name="T4" fmla="*/ 7 w 139"/>
                        <a:gd name="T5" fmla="*/ 356 h 356"/>
                        <a:gd name="T6" fmla="*/ 30 w 139"/>
                        <a:gd name="T7" fmla="*/ 324 h 356"/>
                        <a:gd name="T8" fmla="*/ 56 w 139"/>
                        <a:gd name="T9" fmla="*/ 272 h 356"/>
                        <a:gd name="T10" fmla="*/ 77 w 139"/>
                        <a:gd name="T11" fmla="*/ 203 h 356"/>
                        <a:gd name="T12" fmla="*/ 101 w 139"/>
                        <a:gd name="T13" fmla="*/ 0 h 3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9" h="356">
                          <a:moveTo>
                            <a:pt x="101" y="0"/>
                          </a:moveTo>
                          <a:cubicBezTo>
                            <a:pt x="101" y="0"/>
                            <a:pt x="90" y="125"/>
                            <a:pt x="101" y="179"/>
                          </a:cubicBezTo>
                          <a:cubicBezTo>
                            <a:pt x="101" y="179"/>
                            <a:pt x="139" y="313"/>
                            <a:pt x="7" y="356"/>
                          </a:cubicBezTo>
                          <a:cubicBezTo>
                            <a:pt x="7" y="356"/>
                            <a:pt x="0" y="353"/>
                            <a:pt x="30" y="324"/>
                          </a:cubicBezTo>
                          <a:cubicBezTo>
                            <a:pt x="30" y="324"/>
                            <a:pt x="32" y="312"/>
                            <a:pt x="56" y="272"/>
                          </a:cubicBezTo>
                          <a:cubicBezTo>
                            <a:pt x="56" y="272"/>
                            <a:pt x="65" y="263"/>
                            <a:pt x="77" y="203"/>
                          </a:cubicBezTo>
                          <a:cubicBezTo>
                            <a:pt x="77" y="203"/>
                            <a:pt x="77" y="79"/>
                            <a:pt x="101" y="0"/>
                          </a:cubicBezTo>
                          <a:close/>
                        </a:path>
                      </a:pathLst>
                    </a:custGeom>
                    <a:solidFill>
                      <a:srgbClr val="F0A868"/>
                    </a:solidFill>
                    <a:ln w="15875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05" name="Freeform 11"/>
                    <p:cNvSpPr>
                      <a:spLocks/>
                    </p:cNvSpPr>
                    <p:nvPr/>
                  </p:nvSpPr>
                  <p:spPr bwMode="auto">
                    <a:xfrm>
                      <a:off x="611188" y="2287588"/>
                      <a:ext cx="193675" cy="90487"/>
                    </a:xfrm>
                    <a:custGeom>
                      <a:avLst/>
                      <a:gdLst>
                        <a:gd name="T0" fmla="*/ 0 w 52"/>
                        <a:gd name="T1" fmla="*/ 0 h 24"/>
                        <a:gd name="T2" fmla="*/ 52 w 52"/>
                        <a:gd name="T3" fmla="*/ 13 h 24"/>
                        <a:gd name="T4" fmla="*/ 52 w 52"/>
                        <a:gd name="T5" fmla="*/ 24 h 24"/>
                        <a:gd name="T6" fmla="*/ 0 w 52"/>
                        <a:gd name="T7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52" h="24">
                          <a:moveTo>
                            <a:pt x="0" y="0"/>
                          </a:moveTo>
                          <a:cubicBezTo>
                            <a:pt x="0" y="0"/>
                            <a:pt x="52" y="24"/>
                            <a:pt x="52" y="13"/>
                          </a:cubicBezTo>
                          <a:cubicBezTo>
                            <a:pt x="52" y="24"/>
                            <a:pt x="52" y="24"/>
                            <a:pt x="52" y="24"/>
                          </a:cubicBezTo>
                          <a:cubicBezTo>
                            <a:pt x="52" y="24"/>
                            <a:pt x="18" y="6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0A868"/>
                    </a:solidFill>
                    <a:ln w="15875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06" name="Freeform 12"/>
                    <p:cNvSpPr>
                      <a:spLocks/>
                    </p:cNvSpPr>
                    <p:nvPr/>
                  </p:nvSpPr>
                  <p:spPr bwMode="auto">
                    <a:xfrm>
                      <a:off x="284163" y="2501900"/>
                      <a:ext cx="520700" cy="225425"/>
                    </a:xfrm>
                    <a:custGeom>
                      <a:avLst/>
                      <a:gdLst>
                        <a:gd name="T0" fmla="*/ 0 w 139"/>
                        <a:gd name="T1" fmla="*/ 0 h 60"/>
                        <a:gd name="T2" fmla="*/ 42 w 139"/>
                        <a:gd name="T3" fmla="*/ 36 h 60"/>
                        <a:gd name="T4" fmla="*/ 94 w 139"/>
                        <a:gd name="T5" fmla="*/ 48 h 60"/>
                        <a:gd name="T6" fmla="*/ 139 w 139"/>
                        <a:gd name="T7" fmla="*/ 60 h 60"/>
                        <a:gd name="T8" fmla="*/ 41 w 139"/>
                        <a:gd name="T9" fmla="*/ 42 h 60"/>
                        <a:gd name="T10" fmla="*/ 0 w 139"/>
                        <a:gd name="T11" fmla="*/ 45 h 60"/>
                        <a:gd name="T12" fmla="*/ 0 w 139"/>
                        <a:gd name="T13" fmla="*/ 0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9" h="60">
                          <a:moveTo>
                            <a:pt x="0" y="0"/>
                          </a:moveTo>
                          <a:cubicBezTo>
                            <a:pt x="0" y="0"/>
                            <a:pt x="14" y="21"/>
                            <a:pt x="42" y="36"/>
                          </a:cubicBezTo>
                          <a:cubicBezTo>
                            <a:pt x="56" y="43"/>
                            <a:pt x="73" y="48"/>
                            <a:pt x="94" y="48"/>
                          </a:cubicBezTo>
                          <a:cubicBezTo>
                            <a:pt x="94" y="48"/>
                            <a:pt x="139" y="49"/>
                            <a:pt x="139" y="60"/>
                          </a:cubicBezTo>
                          <a:cubicBezTo>
                            <a:pt x="139" y="60"/>
                            <a:pt x="68" y="46"/>
                            <a:pt x="41" y="42"/>
                          </a:cubicBezTo>
                          <a:cubicBezTo>
                            <a:pt x="41" y="42"/>
                            <a:pt x="3" y="37"/>
                            <a:pt x="0" y="45"/>
                          </a:cubicBezTo>
                          <a:cubicBezTo>
                            <a:pt x="0" y="45"/>
                            <a:pt x="8" y="13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0A868"/>
                    </a:solidFill>
                    <a:ln w="15875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07" name="Freeform 13"/>
                    <p:cNvSpPr>
                      <a:spLocks/>
                    </p:cNvSpPr>
                    <p:nvPr/>
                  </p:nvSpPr>
                  <p:spPr bwMode="auto">
                    <a:xfrm>
                      <a:off x="611188" y="1541463"/>
                      <a:ext cx="193675" cy="236537"/>
                    </a:xfrm>
                    <a:custGeom>
                      <a:avLst/>
                      <a:gdLst>
                        <a:gd name="T0" fmla="*/ 52 w 52"/>
                        <a:gd name="T1" fmla="*/ 0 h 63"/>
                        <a:gd name="T2" fmla="*/ 48 w 52"/>
                        <a:gd name="T3" fmla="*/ 3 h 63"/>
                        <a:gd name="T4" fmla="*/ 0 w 52"/>
                        <a:gd name="T5" fmla="*/ 24 h 63"/>
                        <a:gd name="T6" fmla="*/ 19 w 52"/>
                        <a:gd name="T7" fmla="*/ 63 h 63"/>
                        <a:gd name="T8" fmla="*/ 52 w 52"/>
                        <a:gd name="T9" fmla="*/ 0 h 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2" h="63">
                          <a:moveTo>
                            <a:pt x="52" y="0"/>
                          </a:moveTo>
                          <a:cubicBezTo>
                            <a:pt x="52" y="0"/>
                            <a:pt x="50" y="1"/>
                            <a:pt x="48" y="3"/>
                          </a:cubicBezTo>
                          <a:cubicBezTo>
                            <a:pt x="42" y="8"/>
                            <a:pt x="24" y="20"/>
                            <a:pt x="0" y="24"/>
                          </a:cubicBezTo>
                          <a:cubicBezTo>
                            <a:pt x="0" y="24"/>
                            <a:pt x="8" y="43"/>
                            <a:pt x="19" y="63"/>
                          </a:cubicBezTo>
                          <a:cubicBezTo>
                            <a:pt x="19" y="63"/>
                            <a:pt x="52" y="24"/>
                            <a:pt x="52" y="0"/>
                          </a:cubicBezTo>
                          <a:close/>
                        </a:path>
                      </a:pathLst>
                    </a:custGeom>
                    <a:solidFill>
                      <a:srgbClr val="F0A868"/>
                    </a:solidFill>
                    <a:ln w="15875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</p:grpSp>
              <p:sp>
                <p:nvSpPr>
                  <p:cNvPr id="99" name="Freeform 25"/>
                  <p:cNvSpPr>
                    <a:spLocks/>
                  </p:cNvSpPr>
                  <p:nvPr/>
                </p:nvSpPr>
                <p:spPr bwMode="auto">
                  <a:xfrm flipH="1">
                    <a:off x="8422603" y="4536504"/>
                    <a:ext cx="311173" cy="1019933"/>
                  </a:xfrm>
                  <a:custGeom>
                    <a:avLst/>
                    <a:gdLst>
                      <a:gd name="T0" fmla="*/ 73 w 78"/>
                      <a:gd name="T1" fmla="*/ 0 h 248"/>
                      <a:gd name="T2" fmla="*/ 29 w 78"/>
                      <a:gd name="T3" fmla="*/ 132 h 248"/>
                      <a:gd name="T4" fmla="*/ 29 w 78"/>
                      <a:gd name="T5" fmla="*/ 248 h 248"/>
                      <a:gd name="T6" fmla="*/ 59 w 78"/>
                      <a:gd name="T7" fmla="*/ 86 h 248"/>
                      <a:gd name="T8" fmla="*/ 73 w 78"/>
                      <a:gd name="T9" fmla="*/ 0 h 248"/>
                      <a:gd name="connsiteX0" fmla="*/ 9310 w 9310"/>
                      <a:gd name="connsiteY0" fmla="*/ 0 h 10047"/>
                      <a:gd name="connsiteX1" fmla="*/ 1960 w 9310"/>
                      <a:gd name="connsiteY1" fmla="*/ 5370 h 10047"/>
                      <a:gd name="connsiteX2" fmla="*/ 1960 w 9310"/>
                      <a:gd name="connsiteY2" fmla="*/ 10047 h 10047"/>
                      <a:gd name="connsiteX3" fmla="*/ 5806 w 9310"/>
                      <a:gd name="connsiteY3" fmla="*/ 3515 h 10047"/>
                      <a:gd name="connsiteX4" fmla="*/ 9310 w 9310"/>
                      <a:gd name="connsiteY4" fmla="*/ 0 h 10047"/>
                      <a:gd name="connsiteX0" fmla="*/ 10000 w 10000"/>
                      <a:gd name="connsiteY0" fmla="*/ 0 h 10000"/>
                      <a:gd name="connsiteX1" fmla="*/ 2105 w 10000"/>
                      <a:gd name="connsiteY1" fmla="*/ 5345 h 10000"/>
                      <a:gd name="connsiteX2" fmla="*/ 2105 w 10000"/>
                      <a:gd name="connsiteY2" fmla="*/ 10000 h 10000"/>
                      <a:gd name="connsiteX3" fmla="*/ 6874 w 10000"/>
                      <a:gd name="connsiteY3" fmla="*/ 3149 h 10000"/>
                      <a:gd name="connsiteX4" fmla="*/ 10000 w 10000"/>
                      <a:gd name="connsiteY4" fmla="*/ 0 h 10000"/>
                      <a:gd name="connsiteX0" fmla="*/ 10000 w 10000"/>
                      <a:gd name="connsiteY0" fmla="*/ 0 h 10000"/>
                      <a:gd name="connsiteX1" fmla="*/ 2105 w 10000"/>
                      <a:gd name="connsiteY1" fmla="*/ 5345 h 10000"/>
                      <a:gd name="connsiteX2" fmla="*/ 2105 w 10000"/>
                      <a:gd name="connsiteY2" fmla="*/ 10000 h 10000"/>
                      <a:gd name="connsiteX3" fmla="*/ 6874 w 10000"/>
                      <a:gd name="connsiteY3" fmla="*/ 3149 h 10000"/>
                      <a:gd name="connsiteX4" fmla="*/ 10000 w 10000"/>
                      <a:gd name="connsiteY4" fmla="*/ 0 h 10000"/>
                      <a:gd name="connsiteX0" fmla="*/ 10000 w 10022"/>
                      <a:gd name="connsiteY0" fmla="*/ 0 h 10000"/>
                      <a:gd name="connsiteX1" fmla="*/ 2105 w 10022"/>
                      <a:gd name="connsiteY1" fmla="*/ 5345 h 10000"/>
                      <a:gd name="connsiteX2" fmla="*/ 2105 w 10022"/>
                      <a:gd name="connsiteY2" fmla="*/ 10000 h 10000"/>
                      <a:gd name="connsiteX3" fmla="*/ 6874 w 10022"/>
                      <a:gd name="connsiteY3" fmla="*/ 3149 h 10000"/>
                      <a:gd name="connsiteX4" fmla="*/ 10000 w 10022"/>
                      <a:gd name="connsiteY4" fmla="*/ 0 h 10000"/>
                      <a:gd name="connsiteX0" fmla="*/ 10000 w 10024"/>
                      <a:gd name="connsiteY0" fmla="*/ 0 h 10000"/>
                      <a:gd name="connsiteX1" fmla="*/ 2105 w 10024"/>
                      <a:gd name="connsiteY1" fmla="*/ 5345 h 10000"/>
                      <a:gd name="connsiteX2" fmla="*/ 2105 w 10024"/>
                      <a:gd name="connsiteY2" fmla="*/ 10000 h 10000"/>
                      <a:gd name="connsiteX3" fmla="*/ 7113 w 10024"/>
                      <a:gd name="connsiteY3" fmla="*/ 3359 h 10000"/>
                      <a:gd name="connsiteX4" fmla="*/ 10000 w 10024"/>
                      <a:gd name="connsiteY4" fmla="*/ 0 h 10000"/>
                      <a:gd name="connsiteX0" fmla="*/ 10405 w 10429"/>
                      <a:gd name="connsiteY0" fmla="*/ 0 h 10000"/>
                      <a:gd name="connsiteX1" fmla="*/ 2510 w 10429"/>
                      <a:gd name="connsiteY1" fmla="*/ 5345 h 10000"/>
                      <a:gd name="connsiteX2" fmla="*/ 1951 w 10429"/>
                      <a:gd name="connsiteY2" fmla="*/ 10000 h 10000"/>
                      <a:gd name="connsiteX3" fmla="*/ 7518 w 10429"/>
                      <a:gd name="connsiteY3" fmla="*/ 3359 h 10000"/>
                      <a:gd name="connsiteX4" fmla="*/ 10405 w 10429"/>
                      <a:gd name="connsiteY4" fmla="*/ 0 h 10000"/>
                      <a:gd name="connsiteX0" fmla="*/ 10405 w 10429"/>
                      <a:gd name="connsiteY0" fmla="*/ 0 h 10000"/>
                      <a:gd name="connsiteX1" fmla="*/ 2510 w 10429"/>
                      <a:gd name="connsiteY1" fmla="*/ 5345 h 10000"/>
                      <a:gd name="connsiteX2" fmla="*/ 1951 w 10429"/>
                      <a:gd name="connsiteY2" fmla="*/ 10000 h 10000"/>
                      <a:gd name="connsiteX3" fmla="*/ 7518 w 10429"/>
                      <a:gd name="connsiteY3" fmla="*/ 3359 h 10000"/>
                      <a:gd name="connsiteX4" fmla="*/ 10405 w 10429"/>
                      <a:gd name="connsiteY4" fmla="*/ 0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0429" h="10000">
                        <a:moveTo>
                          <a:pt x="10405" y="0"/>
                        </a:moveTo>
                        <a:cubicBezTo>
                          <a:pt x="10405" y="0"/>
                          <a:pt x="3919" y="3678"/>
                          <a:pt x="2510" y="5345"/>
                        </a:cubicBezTo>
                        <a:cubicBezTo>
                          <a:pt x="1101" y="7012"/>
                          <a:pt x="-2042" y="6548"/>
                          <a:pt x="1951" y="10000"/>
                        </a:cubicBezTo>
                        <a:cubicBezTo>
                          <a:pt x="1951" y="10000"/>
                          <a:pt x="9098" y="8887"/>
                          <a:pt x="7518" y="3359"/>
                        </a:cubicBezTo>
                        <a:cubicBezTo>
                          <a:pt x="7518" y="3359"/>
                          <a:pt x="10740" y="1815"/>
                          <a:pt x="10405" y="0"/>
                        </a:cubicBezTo>
                        <a:close/>
                      </a:path>
                    </a:pathLst>
                  </a:custGeom>
                  <a:solidFill>
                    <a:srgbClr val="F0A868"/>
                  </a:solidFill>
                  <a:ln w="14288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</p:grpSp>
        </p:grpSp>
        <p:grpSp>
          <p:nvGrpSpPr>
            <p:cNvPr id="166" name="Gruppieren 165"/>
            <p:cNvGrpSpPr/>
            <p:nvPr/>
          </p:nvGrpSpPr>
          <p:grpSpPr>
            <a:xfrm flipH="1">
              <a:off x="4156188" y="3960313"/>
              <a:ext cx="1160202" cy="451084"/>
              <a:chOff x="8319962" y="829518"/>
              <a:chExt cx="1210972" cy="470823"/>
            </a:xfrm>
          </p:grpSpPr>
          <p:sp>
            <p:nvSpPr>
              <p:cNvPr id="202" name="Freeform 32"/>
              <p:cNvSpPr>
                <a:spLocks/>
              </p:cNvSpPr>
              <p:nvPr/>
            </p:nvSpPr>
            <p:spPr bwMode="auto">
              <a:xfrm rot="20275470">
                <a:off x="8367569" y="1005689"/>
                <a:ext cx="137462" cy="181331"/>
              </a:xfrm>
              <a:custGeom>
                <a:avLst/>
                <a:gdLst>
                  <a:gd name="T0" fmla="*/ 17 w 20"/>
                  <a:gd name="T1" fmla="*/ 0 h 26"/>
                  <a:gd name="T2" fmla="*/ 20 w 20"/>
                  <a:gd name="T3" fmla="*/ 23 h 26"/>
                  <a:gd name="T4" fmla="*/ 1 w 20"/>
                  <a:gd name="T5" fmla="*/ 14 h 26"/>
                  <a:gd name="T6" fmla="*/ 17 w 20"/>
                  <a:gd name="T7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26">
                    <a:moveTo>
                      <a:pt x="17" y="0"/>
                    </a:moveTo>
                    <a:cubicBezTo>
                      <a:pt x="17" y="0"/>
                      <a:pt x="18" y="20"/>
                      <a:pt x="20" y="23"/>
                    </a:cubicBezTo>
                    <a:cubicBezTo>
                      <a:pt x="20" y="23"/>
                      <a:pt x="6" y="26"/>
                      <a:pt x="1" y="14"/>
                    </a:cubicBezTo>
                    <a:cubicBezTo>
                      <a:pt x="1" y="14"/>
                      <a:pt x="0" y="1"/>
                      <a:pt x="17" y="0"/>
                    </a:cubicBezTo>
                    <a:close/>
                  </a:path>
                </a:pathLst>
              </a:custGeom>
              <a:solidFill>
                <a:srgbClr val="F9C998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1" dirty="0"/>
              </a:p>
            </p:txBody>
          </p:sp>
          <p:grpSp>
            <p:nvGrpSpPr>
              <p:cNvPr id="203" name="Gruppieren 202"/>
              <p:cNvGrpSpPr/>
              <p:nvPr/>
            </p:nvGrpSpPr>
            <p:grpSpPr>
              <a:xfrm rot="20275470">
                <a:off x="8319962" y="829518"/>
                <a:ext cx="796854" cy="470823"/>
                <a:chOff x="8334792" y="5205028"/>
                <a:chExt cx="796854" cy="470823"/>
              </a:xfrm>
            </p:grpSpPr>
            <p:sp>
              <p:nvSpPr>
                <p:cNvPr id="205" name="Freeform 13"/>
                <p:cNvSpPr>
                  <a:spLocks/>
                </p:cNvSpPr>
                <p:nvPr/>
              </p:nvSpPr>
              <p:spPr bwMode="auto">
                <a:xfrm rot="21436763">
                  <a:off x="8341776" y="5205028"/>
                  <a:ext cx="789870" cy="470823"/>
                </a:xfrm>
                <a:custGeom>
                  <a:avLst/>
                  <a:gdLst>
                    <a:gd name="T0" fmla="*/ 307 w 400"/>
                    <a:gd name="T1" fmla="*/ 0 h 226"/>
                    <a:gd name="T2" fmla="*/ 306 w 400"/>
                    <a:gd name="T3" fmla="*/ 17 h 226"/>
                    <a:gd name="T4" fmla="*/ 213 w 400"/>
                    <a:gd name="T5" fmla="*/ 17 h 226"/>
                    <a:gd name="T6" fmla="*/ 156 w 400"/>
                    <a:gd name="T7" fmla="*/ 5 h 226"/>
                    <a:gd name="T8" fmla="*/ 42 w 400"/>
                    <a:gd name="T9" fmla="*/ 40 h 226"/>
                    <a:gd name="T10" fmla="*/ 43 w 400"/>
                    <a:gd name="T11" fmla="*/ 41 h 226"/>
                    <a:gd name="T12" fmla="*/ 64 w 400"/>
                    <a:gd name="T13" fmla="*/ 116 h 226"/>
                    <a:gd name="T14" fmla="*/ 136 w 400"/>
                    <a:gd name="T15" fmla="*/ 130 h 226"/>
                    <a:gd name="T16" fmla="*/ 211 w 400"/>
                    <a:gd name="T17" fmla="*/ 134 h 226"/>
                    <a:gd name="T18" fmla="*/ 319 w 400"/>
                    <a:gd name="T19" fmla="*/ 182 h 226"/>
                    <a:gd name="T20" fmla="*/ 400 w 400"/>
                    <a:gd name="T21" fmla="*/ 226 h 226"/>
                    <a:gd name="T22" fmla="*/ 307 w 400"/>
                    <a:gd name="T23" fmla="*/ 0 h 226"/>
                    <a:gd name="connsiteX0" fmla="*/ 7572 w 9279"/>
                    <a:gd name="connsiteY0" fmla="*/ 107 h 9788"/>
                    <a:gd name="connsiteX1" fmla="*/ 6929 w 9279"/>
                    <a:gd name="connsiteY1" fmla="*/ 540 h 9788"/>
                    <a:gd name="connsiteX2" fmla="*/ 4604 w 9279"/>
                    <a:gd name="connsiteY2" fmla="*/ 540 h 9788"/>
                    <a:gd name="connsiteX3" fmla="*/ 3179 w 9279"/>
                    <a:gd name="connsiteY3" fmla="*/ 9 h 9788"/>
                    <a:gd name="connsiteX4" fmla="*/ 329 w 9279"/>
                    <a:gd name="connsiteY4" fmla="*/ 1558 h 9788"/>
                    <a:gd name="connsiteX5" fmla="*/ 354 w 9279"/>
                    <a:gd name="connsiteY5" fmla="*/ 1602 h 9788"/>
                    <a:gd name="connsiteX6" fmla="*/ 879 w 9279"/>
                    <a:gd name="connsiteY6" fmla="*/ 4921 h 9788"/>
                    <a:gd name="connsiteX7" fmla="*/ 2679 w 9279"/>
                    <a:gd name="connsiteY7" fmla="*/ 5540 h 9788"/>
                    <a:gd name="connsiteX8" fmla="*/ 4554 w 9279"/>
                    <a:gd name="connsiteY8" fmla="*/ 5717 h 9788"/>
                    <a:gd name="connsiteX9" fmla="*/ 7254 w 9279"/>
                    <a:gd name="connsiteY9" fmla="*/ 7841 h 9788"/>
                    <a:gd name="connsiteX10" fmla="*/ 9279 w 9279"/>
                    <a:gd name="connsiteY10" fmla="*/ 9788 h 9788"/>
                    <a:gd name="connsiteX11" fmla="*/ 7572 w 9279"/>
                    <a:gd name="connsiteY11" fmla="*/ 107 h 9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9279" h="9788">
                      <a:moveTo>
                        <a:pt x="7572" y="107"/>
                      </a:moveTo>
                      <a:cubicBezTo>
                        <a:pt x="7497" y="372"/>
                        <a:pt x="7424" y="468"/>
                        <a:pt x="6929" y="540"/>
                      </a:cubicBezTo>
                      <a:cubicBezTo>
                        <a:pt x="6434" y="612"/>
                        <a:pt x="4604" y="142"/>
                        <a:pt x="4604" y="540"/>
                      </a:cubicBezTo>
                      <a:cubicBezTo>
                        <a:pt x="4604" y="540"/>
                        <a:pt x="4304" y="-79"/>
                        <a:pt x="3179" y="9"/>
                      </a:cubicBezTo>
                      <a:cubicBezTo>
                        <a:pt x="1804" y="407"/>
                        <a:pt x="904" y="1027"/>
                        <a:pt x="329" y="1558"/>
                      </a:cubicBezTo>
                      <a:lnTo>
                        <a:pt x="354" y="1602"/>
                      </a:lnTo>
                      <a:cubicBezTo>
                        <a:pt x="354" y="1602"/>
                        <a:pt x="-721" y="3726"/>
                        <a:pt x="879" y="4921"/>
                      </a:cubicBezTo>
                      <a:cubicBezTo>
                        <a:pt x="879" y="4921"/>
                        <a:pt x="2354" y="5806"/>
                        <a:pt x="2679" y="5540"/>
                      </a:cubicBezTo>
                      <a:cubicBezTo>
                        <a:pt x="2679" y="5540"/>
                        <a:pt x="4179" y="5850"/>
                        <a:pt x="4554" y="5717"/>
                      </a:cubicBezTo>
                      <a:cubicBezTo>
                        <a:pt x="4554" y="5717"/>
                        <a:pt x="6854" y="6779"/>
                        <a:pt x="7254" y="7841"/>
                      </a:cubicBezTo>
                      <a:cubicBezTo>
                        <a:pt x="7254" y="7841"/>
                        <a:pt x="7779" y="9124"/>
                        <a:pt x="9279" y="9788"/>
                      </a:cubicBezTo>
                      <a:cubicBezTo>
                        <a:pt x="8504" y="6455"/>
                        <a:pt x="8347" y="3440"/>
                        <a:pt x="7572" y="107"/>
                      </a:cubicBezTo>
                      <a:close/>
                    </a:path>
                  </a:pathLst>
                </a:custGeom>
                <a:solidFill>
                  <a:srgbClr val="F8C080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206" name="Freeform 10"/>
                <p:cNvSpPr>
                  <a:spLocks/>
                </p:cNvSpPr>
                <p:nvPr/>
              </p:nvSpPr>
              <p:spPr bwMode="auto">
                <a:xfrm rot="21436763">
                  <a:off x="8334792" y="5280402"/>
                  <a:ext cx="155837" cy="198173"/>
                </a:xfrm>
                <a:custGeom>
                  <a:avLst/>
                  <a:gdLst>
                    <a:gd name="T0" fmla="*/ 63 w 73"/>
                    <a:gd name="T1" fmla="*/ 0 h 93"/>
                    <a:gd name="T2" fmla="*/ 73 w 73"/>
                    <a:gd name="T3" fmla="*/ 80 h 93"/>
                    <a:gd name="T4" fmla="*/ 5 w 73"/>
                    <a:gd name="T5" fmla="*/ 49 h 93"/>
                    <a:gd name="T6" fmla="*/ 63 w 73"/>
                    <a:gd name="T7" fmla="*/ 0 h 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3" h="93">
                      <a:moveTo>
                        <a:pt x="63" y="0"/>
                      </a:moveTo>
                      <a:cubicBezTo>
                        <a:pt x="63" y="0"/>
                        <a:pt x="64" y="72"/>
                        <a:pt x="73" y="80"/>
                      </a:cubicBezTo>
                      <a:cubicBezTo>
                        <a:pt x="73" y="80"/>
                        <a:pt x="23" y="93"/>
                        <a:pt x="5" y="49"/>
                      </a:cubicBezTo>
                      <a:cubicBezTo>
                        <a:pt x="5" y="49"/>
                        <a:pt x="0" y="5"/>
                        <a:pt x="63" y="0"/>
                      </a:cubicBezTo>
                      <a:close/>
                    </a:path>
                  </a:pathLst>
                </a:custGeom>
                <a:solidFill>
                  <a:srgbClr val="F9C998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</p:grpSp>
          <p:sp>
            <p:nvSpPr>
              <p:cNvPr id="204" name="Freeform 47"/>
              <p:cNvSpPr>
                <a:spLocks/>
              </p:cNvSpPr>
              <p:nvPr/>
            </p:nvSpPr>
            <p:spPr bwMode="auto">
              <a:xfrm rot="20275470">
                <a:off x="8937219" y="853315"/>
                <a:ext cx="593715" cy="359737"/>
              </a:xfrm>
              <a:custGeom>
                <a:avLst/>
                <a:gdLst>
                  <a:gd name="T0" fmla="*/ 70 w 86"/>
                  <a:gd name="T1" fmla="*/ 52 h 52"/>
                  <a:gd name="T2" fmla="*/ 86 w 86"/>
                  <a:gd name="T3" fmla="*/ 44 h 52"/>
                  <a:gd name="T4" fmla="*/ 71 w 86"/>
                  <a:gd name="T5" fmla="*/ 28 h 52"/>
                  <a:gd name="T6" fmla="*/ 0 w 86"/>
                  <a:gd name="T7" fmla="*/ 17 h 52"/>
                  <a:gd name="T8" fmla="*/ 1 w 86"/>
                  <a:gd name="T9" fmla="*/ 18 h 52"/>
                  <a:gd name="T10" fmla="*/ 4 w 86"/>
                  <a:gd name="T11" fmla="*/ 21 h 52"/>
                  <a:gd name="T12" fmla="*/ 4 w 86"/>
                  <a:gd name="T13" fmla="*/ 21 h 52"/>
                  <a:gd name="T14" fmla="*/ 5 w 86"/>
                  <a:gd name="T15" fmla="*/ 22 h 52"/>
                  <a:gd name="T16" fmla="*/ 36 w 86"/>
                  <a:gd name="T17" fmla="*/ 34 h 52"/>
                  <a:gd name="T18" fmla="*/ 44 w 86"/>
                  <a:gd name="T19" fmla="*/ 35 h 52"/>
                  <a:gd name="T20" fmla="*/ 49 w 86"/>
                  <a:gd name="T21" fmla="*/ 35 h 52"/>
                  <a:gd name="T22" fmla="*/ 54 w 86"/>
                  <a:gd name="T23" fmla="*/ 39 h 52"/>
                  <a:gd name="T24" fmla="*/ 70 w 86"/>
                  <a:gd name="T2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6" h="52">
                    <a:moveTo>
                      <a:pt x="70" y="52"/>
                    </a:moveTo>
                    <a:cubicBezTo>
                      <a:pt x="86" y="44"/>
                      <a:pt x="86" y="44"/>
                      <a:pt x="86" y="44"/>
                    </a:cubicBezTo>
                    <a:cubicBezTo>
                      <a:pt x="78" y="35"/>
                      <a:pt x="71" y="28"/>
                      <a:pt x="71" y="28"/>
                    </a:cubicBezTo>
                    <a:cubicBezTo>
                      <a:pt x="44" y="0"/>
                      <a:pt x="0" y="17"/>
                      <a:pt x="0" y="17"/>
                    </a:cubicBezTo>
                    <a:cubicBezTo>
                      <a:pt x="0" y="17"/>
                      <a:pt x="0" y="18"/>
                      <a:pt x="1" y="18"/>
                    </a:cubicBezTo>
                    <a:cubicBezTo>
                      <a:pt x="2" y="19"/>
                      <a:pt x="3" y="20"/>
                      <a:pt x="4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8" y="25"/>
                      <a:pt x="17" y="32"/>
                      <a:pt x="36" y="34"/>
                    </a:cubicBezTo>
                    <a:cubicBezTo>
                      <a:pt x="39" y="35"/>
                      <a:pt x="42" y="35"/>
                      <a:pt x="44" y="35"/>
                    </a:cubicBezTo>
                    <a:cubicBezTo>
                      <a:pt x="46" y="35"/>
                      <a:pt x="47" y="35"/>
                      <a:pt x="49" y="35"/>
                    </a:cubicBezTo>
                    <a:cubicBezTo>
                      <a:pt x="49" y="35"/>
                      <a:pt x="51" y="36"/>
                      <a:pt x="54" y="39"/>
                    </a:cubicBezTo>
                    <a:cubicBezTo>
                      <a:pt x="61" y="43"/>
                      <a:pt x="66" y="47"/>
                      <a:pt x="70" y="52"/>
                    </a:cubicBezTo>
                    <a:close/>
                  </a:path>
                </a:pathLst>
              </a:custGeom>
              <a:solidFill>
                <a:srgbClr val="F0A86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1" dirty="0"/>
              </a:p>
            </p:txBody>
          </p:sp>
        </p:grpSp>
        <p:grpSp>
          <p:nvGrpSpPr>
            <p:cNvPr id="4" name="Gruppieren 3"/>
            <p:cNvGrpSpPr/>
            <p:nvPr/>
          </p:nvGrpSpPr>
          <p:grpSpPr>
            <a:xfrm>
              <a:off x="0" y="3630307"/>
              <a:ext cx="4269034" cy="777217"/>
              <a:chOff x="-1171574" y="3973207"/>
              <a:chExt cx="4269034" cy="777217"/>
            </a:xfrm>
          </p:grpSpPr>
          <p:sp>
            <p:nvSpPr>
              <p:cNvPr id="168" name="Rechteck 167"/>
              <p:cNvSpPr/>
              <p:nvPr/>
            </p:nvSpPr>
            <p:spPr bwMode="auto">
              <a:xfrm flipH="1">
                <a:off x="2872360" y="4055837"/>
                <a:ext cx="225100" cy="631022"/>
              </a:xfrm>
              <a:prstGeom prst="rect">
                <a:avLst/>
              </a:prstGeom>
              <a:solidFill>
                <a:srgbClr val="FFFFFF"/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b="1" dirty="0"/>
              </a:p>
            </p:txBody>
          </p:sp>
          <p:sp>
            <p:nvSpPr>
              <p:cNvPr id="169" name="Freeform 11"/>
              <p:cNvSpPr>
                <a:spLocks/>
              </p:cNvSpPr>
              <p:nvPr/>
            </p:nvSpPr>
            <p:spPr bwMode="auto">
              <a:xfrm flipH="1">
                <a:off x="-1171574" y="3973207"/>
                <a:ext cx="4134322" cy="777217"/>
              </a:xfrm>
              <a:custGeom>
                <a:avLst/>
                <a:gdLst>
                  <a:gd name="T0" fmla="*/ 0 w 723"/>
                  <a:gd name="T1" fmla="*/ 9 h 505"/>
                  <a:gd name="T2" fmla="*/ 0 w 723"/>
                  <a:gd name="T3" fmla="*/ 505 h 505"/>
                  <a:gd name="T4" fmla="*/ 723 w 723"/>
                  <a:gd name="T5" fmla="*/ 505 h 505"/>
                  <a:gd name="T6" fmla="*/ 711 w 723"/>
                  <a:gd name="T7" fmla="*/ 0 h 505"/>
                  <a:gd name="T8" fmla="*/ 0 w 723"/>
                  <a:gd name="T9" fmla="*/ 0 h 505"/>
                  <a:gd name="T10" fmla="*/ 0 w 723"/>
                  <a:gd name="T11" fmla="*/ 9 h 505"/>
                  <a:gd name="connsiteX0" fmla="*/ 0 w 10000"/>
                  <a:gd name="connsiteY0" fmla="*/ 297 h 10119"/>
                  <a:gd name="connsiteX1" fmla="*/ 0 w 10000"/>
                  <a:gd name="connsiteY1" fmla="*/ 10119 h 10119"/>
                  <a:gd name="connsiteX2" fmla="*/ 10000 w 10000"/>
                  <a:gd name="connsiteY2" fmla="*/ 10119 h 10119"/>
                  <a:gd name="connsiteX3" fmla="*/ 9987 w 10000"/>
                  <a:gd name="connsiteY3" fmla="*/ 0 h 10119"/>
                  <a:gd name="connsiteX4" fmla="*/ 0 w 10000"/>
                  <a:gd name="connsiteY4" fmla="*/ 119 h 10119"/>
                  <a:gd name="connsiteX5" fmla="*/ 0 w 10000"/>
                  <a:gd name="connsiteY5" fmla="*/ 297 h 10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00" h="10119">
                    <a:moveTo>
                      <a:pt x="0" y="297"/>
                    </a:moveTo>
                    <a:lnTo>
                      <a:pt x="0" y="10119"/>
                    </a:lnTo>
                    <a:lnTo>
                      <a:pt x="10000" y="10119"/>
                    </a:lnTo>
                    <a:cubicBezTo>
                      <a:pt x="9996" y="6746"/>
                      <a:pt x="9991" y="3373"/>
                      <a:pt x="9987" y="0"/>
                    </a:cubicBezTo>
                    <a:lnTo>
                      <a:pt x="0" y="119"/>
                    </a:lnTo>
                    <a:lnTo>
                      <a:pt x="0" y="297"/>
                    </a:lnTo>
                    <a:close/>
                  </a:path>
                </a:pathLst>
              </a:custGeom>
              <a:solidFill>
                <a:srgbClr val="F7D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0" name="Oval 12"/>
              <p:cNvSpPr>
                <a:spLocks noChangeArrowheads="1"/>
              </p:cNvSpPr>
              <p:nvPr/>
            </p:nvSpPr>
            <p:spPr bwMode="auto">
              <a:xfrm flipH="1">
                <a:off x="2710532" y="4634170"/>
                <a:ext cx="74527" cy="74527"/>
              </a:xfrm>
              <a:prstGeom prst="ellipse">
                <a:avLst/>
              </a:prstGeom>
              <a:solidFill>
                <a:srgbClr val="F0C3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1" dirty="0"/>
              </a:p>
            </p:txBody>
          </p:sp>
          <p:sp>
            <p:nvSpPr>
              <p:cNvPr id="192" name="Oval 13"/>
              <p:cNvSpPr>
                <a:spLocks noChangeArrowheads="1"/>
              </p:cNvSpPr>
              <p:nvPr/>
            </p:nvSpPr>
            <p:spPr bwMode="auto">
              <a:xfrm flipH="1">
                <a:off x="2813956" y="4634170"/>
                <a:ext cx="76047" cy="74527"/>
              </a:xfrm>
              <a:prstGeom prst="ellipse">
                <a:avLst/>
              </a:prstGeom>
              <a:solidFill>
                <a:srgbClr val="F0C3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1" dirty="0"/>
              </a:p>
            </p:txBody>
          </p:sp>
        </p:grpSp>
      </p:grpSp>
      <p:grpSp>
        <p:nvGrpSpPr>
          <p:cNvPr id="7" name="Gruppieren 6"/>
          <p:cNvGrpSpPr/>
          <p:nvPr/>
        </p:nvGrpSpPr>
        <p:grpSpPr>
          <a:xfrm>
            <a:off x="7469305" y="-3667231"/>
            <a:ext cx="3975226" cy="7488392"/>
            <a:chOff x="7468511" y="-3667231"/>
            <a:chExt cx="3975226" cy="7488392"/>
          </a:xfrm>
        </p:grpSpPr>
        <p:grpSp>
          <p:nvGrpSpPr>
            <p:cNvPr id="163" name="Gruppieren 162"/>
            <p:cNvGrpSpPr/>
            <p:nvPr/>
          </p:nvGrpSpPr>
          <p:grpSpPr>
            <a:xfrm>
              <a:off x="9478266" y="-1997716"/>
              <a:ext cx="1965471" cy="5818877"/>
              <a:chOff x="-4569703" y="-18113"/>
              <a:chExt cx="1682919" cy="4982366"/>
            </a:xfrm>
          </p:grpSpPr>
          <p:sp>
            <p:nvSpPr>
              <p:cNvPr id="164" name="Freeform 29"/>
              <p:cNvSpPr>
                <a:spLocks/>
              </p:cNvSpPr>
              <p:nvPr/>
            </p:nvSpPr>
            <p:spPr bwMode="auto">
              <a:xfrm>
                <a:off x="-4301175" y="3729502"/>
                <a:ext cx="677830" cy="147728"/>
              </a:xfrm>
              <a:custGeom>
                <a:avLst/>
                <a:gdLst>
                  <a:gd name="T0" fmla="*/ 0 w 924"/>
                  <a:gd name="T1" fmla="*/ 208 h 352"/>
                  <a:gd name="T2" fmla="*/ 924 w 924"/>
                  <a:gd name="T3" fmla="*/ 208 h 352"/>
                  <a:gd name="T4" fmla="*/ 0 w 924"/>
                  <a:gd name="T5" fmla="*/ 208 h 352"/>
                  <a:gd name="connsiteX0" fmla="*/ 0 w 10068"/>
                  <a:gd name="connsiteY0" fmla="*/ 2599 h 4426"/>
                  <a:gd name="connsiteX1" fmla="*/ 10068 w 10068"/>
                  <a:gd name="connsiteY1" fmla="*/ 2636 h 4426"/>
                  <a:gd name="connsiteX2" fmla="*/ 0 w 10068"/>
                  <a:gd name="connsiteY2" fmla="*/ 2599 h 4426"/>
                  <a:gd name="connsiteX0" fmla="*/ 0 w 9921"/>
                  <a:gd name="connsiteY0" fmla="*/ 5757 h 9928"/>
                  <a:gd name="connsiteX1" fmla="*/ 9921 w 9921"/>
                  <a:gd name="connsiteY1" fmla="*/ 5997 h 9928"/>
                  <a:gd name="connsiteX2" fmla="*/ 0 w 9921"/>
                  <a:gd name="connsiteY2" fmla="*/ 5757 h 9928"/>
                  <a:gd name="connsiteX0" fmla="*/ 0 w 9973"/>
                  <a:gd name="connsiteY0" fmla="*/ 6183 h 10249"/>
                  <a:gd name="connsiteX1" fmla="*/ 9973 w 9973"/>
                  <a:gd name="connsiteY1" fmla="*/ 5905 h 10249"/>
                  <a:gd name="connsiteX2" fmla="*/ 0 w 9973"/>
                  <a:gd name="connsiteY2" fmla="*/ 6183 h 10249"/>
                  <a:gd name="connsiteX0" fmla="*/ 0 w 7077"/>
                  <a:gd name="connsiteY0" fmla="*/ 6378 h 10234"/>
                  <a:gd name="connsiteX1" fmla="*/ 7077 w 7077"/>
                  <a:gd name="connsiteY1" fmla="*/ 5648 h 10234"/>
                  <a:gd name="connsiteX2" fmla="*/ 0 w 7077"/>
                  <a:gd name="connsiteY2" fmla="*/ 6378 h 10234"/>
                  <a:gd name="connsiteX0" fmla="*/ 0 w 9537"/>
                  <a:gd name="connsiteY0" fmla="*/ 6280 h 10033"/>
                  <a:gd name="connsiteX1" fmla="*/ 9537 w 9537"/>
                  <a:gd name="connsiteY1" fmla="*/ 5503 h 10033"/>
                  <a:gd name="connsiteX2" fmla="*/ 0 w 9537"/>
                  <a:gd name="connsiteY2" fmla="*/ 6280 h 10033"/>
                  <a:gd name="connsiteX0" fmla="*/ 0 w 10000"/>
                  <a:gd name="connsiteY0" fmla="*/ 3428 h 7168"/>
                  <a:gd name="connsiteX1" fmla="*/ 10000 w 10000"/>
                  <a:gd name="connsiteY1" fmla="*/ 2654 h 7168"/>
                  <a:gd name="connsiteX2" fmla="*/ 0 w 10000"/>
                  <a:gd name="connsiteY2" fmla="*/ 3428 h 7168"/>
                  <a:gd name="connsiteX0" fmla="*/ 0 w 10000"/>
                  <a:gd name="connsiteY0" fmla="*/ 4781 h 6263"/>
                  <a:gd name="connsiteX1" fmla="*/ 10000 w 10000"/>
                  <a:gd name="connsiteY1" fmla="*/ 3702 h 6263"/>
                  <a:gd name="connsiteX2" fmla="*/ 0 w 10000"/>
                  <a:gd name="connsiteY2" fmla="*/ 4781 h 6263"/>
                  <a:gd name="connsiteX0" fmla="*/ 0 w 9861"/>
                  <a:gd name="connsiteY0" fmla="*/ 5923 h 8826"/>
                  <a:gd name="connsiteX1" fmla="*/ 9861 w 9861"/>
                  <a:gd name="connsiteY1" fmla="*/ 6476 h 8826"/>
                  <a:gd name="connsiteX2" fmla="*/ 0 w 9861"/>
                  <a:gd name="connsiteY2" fmla="*/ 5923 h 8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861" h="8826">
                    <a:moveTo>
                      <a:pt x="0" y="5923"/>
                    </a:moveTo>
                    <a:cubicBezTo>
                      <a:pt x="0" y="5923"/>
                      <a:pt x="4317" y="-7763"/>
                      <a:pt x="9861" y="6476"/>
                    </a:cubicBezTo>
                    <a:cubicBezTo>
                      <a:pt x="9861" y="6476"/>
                      <a:pt x="7678" y="12115"/>
                      <a:pt x="0" y="5923"/>
                    </a:cubicBezTo>
                    <a:close/>
                  </a:path>
                </a:pathLst>
              </a:custGeom>
              <a:solidFill>
                <a:srgbClr val="F9F9F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1" dirty="0"/>
              </a:p>
            </p:txBody>
          </p:sp>
          <p:grpSp>
            <p:nvGrpSpPr>
              <p:cNvPr id="165" name="Gruppieren 164"/>
              <p:cNvGrpSpPr/>
              <p:nvPr/>
            </p:nvGrpSpPr>
            <p:grpSpPr>
              <a:xfrm rot="21318567">
                <a:off x="-4502351" y="3250820"/>
                <a:ext cx="1615567" cy="1713433"/>
                <a:chOff x="13299196" y="2729907"/>
                <a:chExt cx="1615567" cy="1713433"/>
              </a:xfrm>
            </p:grpSpPr>
            <p:sp>
              <p:nvSpPr>
                <p:cNvPr id="196" name="Freeform 6"/>
                <p:cNvSpPr>
                  <a:spLocks/>
                </p:cNvSpPr>
                <p:nvPr/>
              </p:nvSpPr>
              <p:spPr bwMode="auto">
                <a:xfrm rot="12782445">
                  <a:off x="13299196" y="2729907"/>
                  <a:ext cx="1303615" cy="1407676"/>
                </a:xfrm>
                <a:custGeom>
                  <a:avLst/>
                  <a:gdLst>
                    <a:gd name="T0" fmla="*/ 774 w 774"/>
                    <a:gd name="T1" fmla="*/ 664 h 836"/>
                    <a:gd name="T2" fmla="*/ 622 w 774"/>
                    <a:gd name="T3" fmla="*/ 387 h 836"/>
                    <a:gd name="T4" fmla="*/ 597 w 774"/>
                    <a:gd name="T5" fmla="*/ 288 h 836"/>
                    <a:gd name="T6" fmla="*/ 578 w 774"/>
                    <a:gd name="T7" fmla="*/ 143 h 836"/>
                    <a:gd name="T8" fmla="*/ 519 w 774"/>
                    <a:gd name="T9" fmla="*/ 102 h 836"/>
                    <a:gd name="T10" fmla="*/ 340 w 774"/>
                    <a:gd name="T11" fmla="*/ 18 h 836"/>
                    <a:gd name="T12" fmla="*/ 310 w 774"/>
                    <a:gd name="T13" fmla="*/ 15 h 836"/>
                    <a:gd name="T14" fmla="*/ 168 w 774"/>
                    <a:gd name="T15" fmla="*/ 14 h 836"/>
                    <a:gd name="T16" fmla="*/ 26 w 774"/>
                    <a:gd name="T17" fmla="*/ 66 h 836"/>
                    <a:gd name="T18" fmla="*/ 59 w 774"/>
                    <a:gd name="T19" fmla="*/ 127 h 836"/>
                    <a:gd name="T20" fmla="*/ 195 w 774"/>
                    <a:gd name="T21" fmla="*/ 107 h 836"/>
                    <a:gd name="T22" fmla="*/ 73 w 774"/>
                    <a:gd name="T23" fmla="*/ 165 h 836"/>
                    <a:gd name="T24" fmla="*/ 36 w 774"/>
                    <a:gd name="T25" fmla="*/ 233 h 836"/>
                    <a:gd name="T26" fmla="*/ 121 w 774"/>
                    <a:gd name="T27" fmla="*/ 231 h 836"/>
                    <a:gd name="T28" fmla="*/ 147 w 774"/>
                    <a:gd name="T29" fmla="*/ 221 h 836"/>
                    <a:gd name="T30" fmla="*/ 218 w 774"/>
                    <a:gd name="T31" fmla="*/ 206 h 836"/>
                    <a:gd name="T32" fmla="*/ 324 w 774"/>
                    <a:gd name="T33" fmla="*/ 215 h 836"/>
                    <a:gd name="T34" fmla="*/ 201 w 774"/>
                    <a:gd name="T35" fmla="*/ 281 h 836"/>
                    <a:gd name="T36" fmla="*/ 240 w 774"/>
                    <a:gd name="T37" fmla="*/ 336 h 836"/>
                    <a:gd name="T38" fmla="*/ 257 w 774"/>
                    <a:gd name="T39" fmla="*/ 346 h 836"/>
                    <a:gd name="T40" fmla="*/ 272 w 774"/>
                    <a:gd name="T41" fmla="*/ 348 h 836"/>
                    <a:gd name="T42" fmla="*/ 232 w 774"/>
                    <a:gd name="T43" fmla="*/ 356 h 836"/>
                    <a:gd name="T44" fmla="*/ 244 w 774"/>
                    <a:gd name="T45" fmla="*/ 407 h 836"/>
                    <a:gd name="T46" fmla="*/ 302 w 774"/>
                    <a:gd name="T47" fmla="*/ 413 h 836"/>
                    <a:gd name="T48" fmla="*/ 376 w 774"/>
                    <a:gd name="T49" fmla="*/ 461 h 836"/>
                    <a:gd name="T50" fmla="*/ 366 w 774"/>
                    <a:gd name="T51" fmla="*/ 592 h 836"/>
                    <a:gd name="T52" fmla="*/ 443 w 774"/>
                    <a:gd name="T53" fmla="*/ 704 h 836"/>
                    <a:gd name="T54" fmla="*/ 495 w 774"/>
                    <a:gd name="T55" fmla="*/ 751 h 836"/>
                    <a:gd name="T56" fmla="*/ 544 w 774"/>
                    <a:gd name="T57" fmla="*/ 836 h 836"/>
                    <a:gd name="T58" fmla="*/ 774 w 774"/>
                    <a:gd name="T59" fmla="*/ 664 h 8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774" h="836">
                      <a:moveTo>
                        <a:pt x="774" y="664"/>
                      </a:moveTo>
                      <a:cubicBezTo>
                        <a:pt x="774" y="664"/>
                        <a:pt x="622" y="491"/>
                        <a:pt x="622" y="387"/>
                      </a:cubicBezTo>
                      <a:cubicBezTo>
                        <a:pt x="622" y="387"/>
                        <a:pt x="602" y="307"/>
                        <a:pt x="597" y="288"/>
                      </a:cubicBezTo>
                      <a:cubicBezTo>
                        <a:pt x="597" y="288"/>
                        <a:pt x="578" y="167"/>
                        <a:pt x="578" y="143"/>
                      </a:cubicBezTo>
                      <a:cubicBezTo>
                        <a:pt x="578" y="143"/>
                        <a:pt x="575" y="107"/>
                        <a:pt x="519" y="102"/>
                      </a:cubicBezTo>
                      <a:cubicBezTo>
                        <a:pt x="519" y="102"/>
                        <a:pt x="359" y="17"/>
                        <a:pt x="340" y="18"/>
                      </a:cubicBezTo>
                      <a:cubicBezTo>
                        <a:pt x="340" y="18"/>
                        <a:pt x="327" y="13"/>
                        <a:pt x="310" y="15"/>
                      </a:cubicBezTo>
                      <a:cubicBezTo>
                        <a:pt x="310" y="15"/>
                        <a:pt x="204" y="0"/>
                        <a:pt x="168" y="14"/>
                      </a:cubicBezTo>
                      <a:cubicBezTo>
                        <a:pt x="168" y="14"/>
                        <a:pt x="34" y="32"/>
                        <a:pt x="26" y="66"/>
                      </a:cubicBezTo>
                      <a:cubicBezTo>
                        <a:pt x="26" y="66"/>
                        <a:pt x="8" y="115"/>
                        <a:pt x="59" y="127"/>
                      </a:cubicBezTo>
                      <a:cubicBezTo>
                        <a:pt x="59" y="127"/>
                        <a:pt x="160" y="133"/>
                        <a:pt x="195" y="107"/>
                      </a:cubicBezTo>
                      <a:cubicBezTo>
                        <a:pt x="195" y="107"/>
                        <a:pt x="82" y="152"/>
                        <a:pt x="73" y="165"/>
                      </a:cubicBezTo>
                      <a:cubicBezTo>
                        <a:pt x="73" y="165"/>
                        <a:pt x="0" y="191"/>
                        <a:pt x="36" y="233"/>
                      </a:cubicBezTo>
                      <a:cubicBezTo>
                        <a:pt x="36" y="233"/>
                        <a:pt x="59" y="269"/>
                        <a:pt x="121" y="231"/>
                      </a:cubicBezTo>
                      <a:cubicBezTo>
                        <a:pt x="121" y="231"/>
                        <a:pt x="141" y="227"/>
                        <a:pt x="147" y="221"/>
                      </a:cubicBezTo>
                      <a:cubicBezTo>
                        <a:pt x="147" y="221"/>
                        <a:pt x="211" y="212"/>
                        <a:pt x="218" y="206"/>
                      </a:cubicBezTo>
                      <a:cubicBezTo>
                        <a:pt x="324" y="215"/>
                        <a:pt x="324" y="215"/>
                        <a:pt x="324" y="215"/>
                      </a:cubicBezTo>
                      <a:cubicBezTo>
                        <a:pt x="324" y="215"/>
                        <a:pt x="172" y="197"/>
                        <a:pt x="201" y="281"/>
                      </a:cubicBezTo>
                      <a:cubicBezTo>
                        <a:pt x="201" y="281"/>
                        <a:pt x="226" y="328"/>
                        <a:pt x="240" y="336"/>
                      </a:cubicBezTo>
                      <a:cubicBezTo>
                        <a:pt x="240" y="336"/>
                        <a:pt x="247" y="345"/>
                        <a:pt x="257" y="346"/>
                      </a:cubicBezTo>
                      <a:cubicBezTo>
                        <a:pt x="272" y="348"/>
                        <a:pt x="272" y="348"/>
                        <a:pt x="272" y="348"/>
                      </a:cubicBezTo>
                      <a:cubicBezTo>
                        <a:pt x="272" y="348"/>
                        <a:pt x="235" y="340"/>
                        <a:pt x="232" y="356"/>
                      </a:cubicBezTo>
                      <a:cubicBezTo>
                        <a:pt x="232" y="356"/>
                        <a:pt x="214" y="394"/>
                        <a:pt x="244" y="407"/>
                      </a:cubicBezTo>
                      <a:cubicBezTo>
                        <a:pt x="244" y="407"/>
                        <a:pt x="279" y="435"/>
                        <a:pt x="302" y="413"/>
                      </a:cubicBezTo>
                      <a:cubicBezTo>
                        <a:pt x="376" y="461"/>
                        <a:pt x="376" y="461"/>
                        <a:pt x="376" y="461"/>
                      </a:cubicBezTo>
                      <a:cubicBezTo>
                        <a:pt x="376" y="461"/>
                        <a:pt x="334" y="527"/>
                        <a:pt x="366" y="592"/>
                      </a:cubicBezTo>
                      <a:cubicBezTo>
                        <a:pt x="366" y="592"/>
                        <a:pt x="397" y="683"/>
                        <a:pt x="443" y="704"/>
                      </a:cubicBezTo>
                      <a:cubicBezTo>
                        <a:pt x="443" y="704"/>
                        <a:pt x="484" y="747"/>
                        <a:pt x="495" y="751"/>
                      </a:cubicBezTo>
                      <a:cubicBezTo>
                        <a:pt x="544" y="836"/>
                        <a:pt x="544" y="836"/>
                        <a:pt x="544" y="836"/>
                      </a:cubicBezTo>
                      <a:lnTo>
                        <a:pt x="774" y="664"/>
                      </a:lnTo>
                      <a:close/>
                    </a:path>
                  </a:pathLst>
                </a:custGeom>
                <a:solidFill>
                  <a:srgbClr val="F8C080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grpSp>
              <p:nvGrpSpPr>
                <p:cNvPr id="197" name="Gruppieren 196"/>
                <p:cNvGrpSpPr/>
                <p:nvPr/>
              </p:nvGrpSpPr>
              <p:grpSpPr>
                <a:xfrm>
                  <a:off x="13361903" y="2942730"/>
                  <a:ext cx="1552860" cy="1500610"/>
                  <a:chOff x="13361903" y="2942730"/>
                  <a:chExt cx="1552860" cy="1500610"/>
                </a:xfrm>
              </p:grpSpPr>
              <p:sp>
                <p:nvSpPr>
                  <p:cNvPr id="198" name="Freeform 10"/>
                  <p:cNvSpPr>
                    <a:spLocks/>
                  </p:cNvSpPr>
                  <p:nvPr/>
                </p:nvSpPr>
                <p:spPr bwMode="auto">
                  <a:xfrm rot="12782445">
                    <a:off x="14037146" y="3697480"/>
                    <a:ext cx="44903" cy="111189"/>
                  </a:xfrm>
                  <a:custGeom>
                    <a:avLst/>
                    <a:gdLst>
                      <a:gd name="T0" fmla="*/ 27 w 27"/>
                      <a:gd name="T1" fmla="*/ 37 h 66"/>
                      <a:gd name="T2" fmla="*/ 20 w 27"/>
                      <a:gd name="T3" fmla="*/ 66 h 66"/>
                      <a:gd name="T4" fmla="*/ 1 w 27"/>
                      <a:gd name="T5" fmla="*/ 33 h 66"/>
                      <a:gd name="T6" fmla="*/ 27 w 27"/>
                      <a:gd name="T7" fmla="*/ 37 h 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7" h="66">
                        <a:moveTo>
                          <a:pt x="27" y="37"/>
                        </a:moveTo>
                        <a:cubicBezTo>
                          <a:pt x="27" y="37"/>
                          <a:pt x="16" y="59"/>
                          <a:pt x="20" y="66"/>
                        </a:cubicBezTo>
                        <a:cubicBezTo>
                          <a:pt x="20" y="66"/>
                          <a:pt x="0" y="55"/>
                          <a:pt x="1" y="33"/>
                        </a:cubicBezTo>
                        <a:cubicBezTo>
                          <a:pt x="1" y="33"/>
                          <a:pt x="5" y="0"/>
                          <a:pt x="27" y="37"/>
                        </a:cubicBezTo>
                        <a:close/>
                      </a:path>
                    </a:pathLst>
                  </a:custGeom>
                  <a:solidFill>
                    <a:srgbClr val="F9C998"/>
                  </a:solidFill>
                  <a:ln w="14288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199" name="Freeform 19"/>
                  <p:cNvSpPr>
                    <a:spLocks/>
                  </p:cNvSpPr>
                  <p:nvPr/>
                </p:nvSpPr>
                <p:spPr bwMode="auto">
                  <a:xfrm flipV="1">
                    <a:off x="13780881" y="3569174"/>
                    <a:ext cx="1133882" cy="874166"/>
                  </a:xfrm>
                  <a:custGeom>
                    <a:avLst/>
                    <a:gdLst>
                      <a:gd name="T0" fmla="*/ 0 w 227"/>
                      <a:gd name="T1" fmla="*/ 41 h 175"/>
                      <a:gd name="T2" fmla="*/ 202 w 227"/>
                      <a:gd name="T3" fmla="*/ 0 h 175"/>
                      <a:gd name="T4" fmla="*/ 227 w 227"/>
                      <a:gd name="T5" fmla="*/ 133 h 175"/>
                      <a:gd name="T6" fmla="*/ 28 w 227"/>
                      <a:gd name="T7" fmla="*/ 175 h 175"/>
                      <a:gd name="T8" fmla="*/ 0 w 227"/>
                      <a:gd name="T9" fmla="*/ 43 h 175"/>
                      <a:gd name="T10" fmla="*/ 0 w 227"/>
                      <a:gd name="T11" fmla="*/ 41 h 1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27" h="175">
                        <a:moveTo>
                          <a:pt x="0" y="41"/>
                        </a:moveTo>
                        <a:cubicBezTo>
                          <a:pt x="2" y="40"/>
                          <a:pt x="202" y="0"/>
                          <a:pt x="202" y="0"/>
                        </a:cubicBezTo>
                        <a:cubicBezTo>
                          <a:pt x="227" y="133"/>
                          <a:pt x="227" y="133"/>
                          <a:pt x="227" y="133"/>
                        </a:cubicBezTo>
                        <a:cubicBezTo>
                          <a:pt x="28" y="175"/>
                          <a:pt x="28" y="175"/>
                          <a:pt x="28" y="175"/>
                        </a:cubicBezTo>
                        <a:cubicBezTo>
                          <a:pt x="0" y="43"/>
                          <a:pt x="0" y="43"/>
                          <a:pt x="0" y="43"/>
                        </a:cubicBezTo>
                        <a:lnTo>
                          <a:pt x="0" y="41"/>
                        </a:lnTo>
                        <a:close/>
                      </a:path>
                    </a:pathLst>
                  </a:custGeom>
                  <a:solidFill>
                    <a:srgbClr val="F9F9F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grpSp>
                <p:nvGrpSpPr>
                  <p:cNvPr id="200" name="Gruppieren 199"/>
                  <p:cNvGrpSpPr/>
                  <p:nvPr/>
                </p:nvGrpSpPr>
                <p:grpSpPr>
                  <a:xfrm>
                    <a:off x="13361903" y="2942730"/>
                    <a:ext cx="1151800" cy="1326399"/>
                    <a:chOff x="13361903" y="2942730"/>
                    <a:chExt cx="1151800" cy="1326399"/>
                  </a:xfrm>
                </p:grpSpPr>
                <p:sp>
                  <p:nvSpPr>
                    <p:cNvPr id="207" name="Freeform 7"/>
                    <p:cNvSpPr>
                      <a:spLocks/>
                    </p:cNvSpPr>
                    <p:nvPr/>
                  </p:nvSpPr>
                  <p:spPr bwMode="auto">
                    <a:xfrm rot="12782445">
                      <a:off x="13361903" y="2942730"/>
                      <a:ext cx="1151800" cy="1146811"/>
                    </a:xfrm>
                    <a:custGeom>
                      <a:avLst/>
                      <a:gdLst>
                        <a:gd name="T0" fmla="*/ 45 w 684"/>
                        <a:gd name="T1" fmla="*/ 14 h 681"/>
                        <a:gd name="T2" fmla="*/ 152 w 684"/>
                        <a:gd name="T3" fmla="*/ 45 h 681"/>
                        <a:gd name="T4" fmla="*/ 186 w 684"/>
                        <a:gd name="T5" fmla="*/ 51 h 681"/>
                        <a:gd name="T6" fmla="*/ 241 w 684"/>
                        <a:gd name="T7" fmla="*/ 103 h 681"/>
                        <a:gd name="T8" fmla="*/ 304 w 684"/>
                        <a:gd name="T9" fmla="*/ 141 h 681"/>
                        <a:gd name="T10" fmla="*/ 367 w 684"/>
                        <a:gd name="T11" fmla="*/ 180 h 681"/>
                        <a:gd name="T12" fmla="*/ 463 w 684"/>
                        <a:gd name="T13" fmla="*/ 229 h 681"/>
                        <a:gd name="T14" fmla="*/ 684 w 684"/>
                        <a:gd name="T15" fmla="*/ 681 h 681"/>
                        <a:gd name="T16" fmla="*/ 231 w 684"/>
                        <a:gd name="T17" fmla="*/ 293 h 681"/>
                        <a:gd name="T18" fmla="*/ 139 w 684"/>
                        <a:gd name="T19" fmla="*/ 177 h 681"/>
                        <a:gd name="T20" fmla="*/ 41 w 684"/>
                        <a:gd name="T21" fmla="*/ 101 h 681"/>
                        <a:gd name="T22" fmla="*/ 45 w 684"/>
                        <a:gd name="T23" fmla="*/ 14 h 6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684" h="681">
                          <a:moveTo>
                            <a:pt x="45" y="14"/>
                          </a:moveTo>
                          <a:cubicBezTo>
                            <a:pt x="45" y="14"/>
                            <a:pt x="78" y="0"/>
                            <a:pt x="152" y="45"/>
                          </a:cubicBezTo>
                          <a:cubicBezTo>
                            <a:pt x="152" y="45"/>
                            <a:pt x="182" y="51"/>
                            <a:pt x="186" y="51"/>
                          </a:cubicBezTo>
                          <a:cubicBezTo>
                            <a:pt x="186" y="51"/>
                            <a:pt x="218" y="65"/>
                            <a:pt x="241" y="103"/>
                          </a:cubicBezTo>
                          <a:cubicBezTo>
                            <a:pt x="241" y="103"/>
                            <a:pt x="291" y="139"/>
                            <a:pt x="304" y="141"/>
                          </a:cubicBezTo>
                          <a:cubicBezTo>
                            <a:pt x="304" y="141"/>
                            <a:pt x="363" y="172"/>
                            <a:pt x="367" y="180"/>
                          </a:cubicBezTo>
                          <a:cubicBezTo>
                            <a:pt x="367" y="180"/>
                            <a:pt x="457" y="215"/>
                            <a:pt x="463" y="229"/>
                          </a:cubicBezTo>
                          <a:cubicBezTo>
                            <a:pt x="684" y="681"/>
                            <a:pt x="684" y="681"/>
                            <a:pt x="684" y="681"/>
                          </a:cubicBezTo>
                          <a:cubicBezTo>
                            <a:pt x="684" y="681"/>
                            <a:pt x="296" y="618"/>
                            <a:pt x="231" y="293"/>
                          </a:cubicBezTo>
                          <a:cubicBezTo>
                            <a:pt x="231" y="293"/>
                            <a:pt x="195" y="181"/>
                            <a:pt x="139" y="177"/>
                          </a:cubicBezTo>
                          <a:cubicBezTo>
                            <a:pt x="139" y="177"/>
                            <a:pt x="83" y="172"/>
                            <a:pt x="41" y="101"/>
                          </a:cubicBezTo>
                          <a:cubicBezTo>
                            <a:pt x="41" y="101"/>
                            <a:pt x="0" y="52"/>
                            <a:pt x="45" y="14"/>
                          </a:cubicBezTo>
                          <a:close/>
                        </a:path>
                      </a:pathLst>
                    </a:custGeom>
                    <a:solidFill>
                      <a:srgbClr val="F8C080"/>
                    </a:solidFill>
                    <a:ln w="14288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08" name="Freeform 8"/>
                    <p:cNvSpPr>
                      <a:spLocks/>
                    </p:cNvSpPr>
                    <p:nvPr/>
                  </p:nvSpPr>
                  <p:spPr bwMode="auto">
                    <a:xfrm rot="12782445">
                      <a:off x="13962404" y="4097357"/>
                      <a:ext cx="213824" cy="171772"/>
                    </a:xfrm>
                    <a:custGeom>
                      <a:avLst/>
                      <a:gdLst>
                        <a:gd name="T0" fmla="*/ 127 w 127"/>
                        <a:gd name="T1" fmla="*/ 46 h 102"/>
                        <a:gd name="T2" fmla="*/ 78 w 127"/>
                        <a:gd name="T3" fmla="*/ 102 h 102"/>
                        <a:gd name="T4" fmla="*/ 46 w 127"/>
                        <a:gd name="T5" fmla="*/ 21 h 102"/>
                        <a:gd name="T6" fmla="*/ 127 w 127"/>
                        <a:gd name="T7" fmla="*/ 46 h 1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7" h="102">
                          <a:moveTo>
                            <a:pt x="127" y="46"/>
                          </a:moveTo>
                          <a:cubicBezTo>
                            <a:pt x="127" y="46"/>
                            <a:pt x="77" y="93"/>
                            <a:pt x="78" y="102"/>
                          </a:cubicBezTo>
                          <a:cubicBezTo>
                            <a:pt x="78" y="102"/>
                            <a:pt x="0" y="61"/>
                            <a:pt x="46" y="21"/>
                          </a:cubicBezTo>
                          <a:cubicBezTo>
                            <a:pt x="46" y="21"/>
                            <a:pt x="74" y="0"/>
                            <a:pt x="127" y="46"/>
                          </a:cubicBezTo>
                          <a:close/>
                        </a:path>
                      </a:pathLst>
                    </a:custGeom>
                    <a:solidFill>
                      <a:srgbClr val="F9C998"/>
                    </a:solidFill>
                    <a:ln w="14288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/>
                    </a:p>
                  </p:txBody>
                </p:sp>
              </p:grpSp>
              <p:sp>
                <p:nvSpPr>
                  <p:cNvPr id="201" name="Freeform 9"/>
                  <p:cNvSpPr>
                    <a:spLocks/>
                  </p:cNvSpPr>
                  <p:nvPr/>
                </p:nvSpPr>
                <p:spPr bwMode="auto">
                  <a:xfrm rot="12782445">
                    <a:off x="13668474" y="3812551"/>
                    <a:ext cx="247324" cy="128295"/>
                  </a:xfrm>
                  <a:custGeom>
                    <a:avLst/>
                    <a:gdLst>
                      <a:gd name="T0" fmla="*/ 147 w 147"/>
                      <a:gd name="T1" fmla="*/ 0 h 76"/>
                      <a:gd name="T2" fmla="*/ 126 w 147"/>
                      <a:gd name="T3" fmla="*/ 32 h 76"/>
                      <a:gd name="T4" fmla="*/ 126 w 147"/>
                      <a:gd name="T5" fmla="*/ 34 h 76"/>
                      <a:gd name="T6" fmla="*/ 115 w 147"/>
                      <a:gd name="T7" fmla="*/ 76 h 76"/>
                      <a:gd name="T8" fmla="*/ 104 w 147"/>
                      <a:gd name="T9" fmla="*/ 47 h 76"/>
                      <a:gd name="T10" fmla="*/ 40 w 147"/>
                      <a:gd name="T11" fmla="*/ 17 h 76"/>
                      <a:gd name="T12" fmla="*/ 0 w 147"/>
                      <a:gd name="T13" fmla="*/ 11 h 76"/>
                      <a:gd name="T14" fmla="*/ 63 w 147"/>
                      <a:gd name="T15" fmla="*/ 26 h 76"/>
                      <a:gd name="T16" fmla="*/ 121 w 147"/>
                      <a:gd name="T17" fmla="*/ 38 h 76"/>
                      <a:gd name="T18" fmla="*/ 147 w 147"/>
                      <a:gd name="T19" fmla="*/ 0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47" h="76">
                        <a:moveTo>
                          <a:pt x="147" y="0"/>
                        </a:moveTo>
                        <a:cubicBezTo>
                          <a:pt x="147" y="0"/>
                          <a:pt x="136" y="15"/>
                          <a:pt x="126" y="32"/>
                        </a:cubicBezTo>
                        <a:cubicBezTo>
                          <a:pt x="126" y="32"/>
                          <a:pt x="126" y="33"/>
                          <a:pt x="126" y="34"/>
                        </a:cubicBezTo>
                        <a:cubicBezTo>
                          <a:pt x="117" y="50"/>
                          <a:pt x="110" y="67"/>
                          <a:pt x="115" y="76"/>
                        </a:cubicBezTo>
                        <a:cubicBezTo>
                          <a:pt x="115" y="76"/>
                          <a:pt x="113" y="50"/>
                          <a:pt x="104" y="47"/>
                        </a:cubicBezTo>
                        <a:cubicBezTo>
                          <a:pt x="104" y="47"/>
                          <a:pt x="41" y="17"/>
                          <a:pt x="40" y="17"/>
                        </a:cubicBezTo>
                        <a:cubicBezTo>
                          <a:pt x="0" y="11"/>
                          <a:pt x="0" y="11"/>
                          <a:pt x="0" y="11"/>
                        </a:cubicBezTo>
                        <a:cubicBezTo>
                          <a:pt x="0" y="11"/>
                          <a:pt x="55" y="20"/>
                          <a:pt x="63" y="26"/>
                        </a:cubicBezTo>
                        <a:cubicBezTo>
                          <a:pt x="63" y="26"/>
                          <a:pt x="111" y="51"/>
                          <a:pt x="121" y="38"/>
                        </a:cubicBezTo>
                        <a:cubicBezTo>
                          <a:pt x="121" y="38"/>
                          <a:pt x="144" y="5"/>
                          <a:pt x="147" y="0"/>
                        </a:cubicBezTo>
                        <a:close/>
                      </a:path>
                    </a:pathLst>
                  </a:custGeom>
                  <a:solidFill>
                    <a:srgbClr val="F0A868"/>
                  </a:solidFill>
                  <a:ln w="14288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</p:grpSp>
          <p:grpSp>
            <p:nvGrpSpPr>
              <p:cNvPr id="167" name="Gruppieren 166"/>
              <p:cNvGrpSpPr/>
              <p:nvPr/>
            </p:nvGrpSpPr>
            <p:grpSpPr>
              <a:xfrm>
                <a:off x="-4313924" y="3582169"/>
                <a:ext cx="751076" cy="263780"/>
                <a:chOff x="4737374" y="3477627"/>
                <a:chExt cx="751076" cy="263780"/>
              </a:xfrm>
            </p:grpSpPr>
            <p:sp>
              <p:nvSpPr>
                <p:cNvPr id="194" name="Freeform 13"/>
                <p:cNvSpPr>
                  <a:spLocks/>
                </p:cNvSpPr>
                <p:nvPr/>
              </p:nvSpPr>
              <p:spPr bwMode="auto">
                <a:xfrm flipV="1">
                  <a:off x="4737374" y="3477627"/>
                  <a:ext cx="751076" cy="98067"/>
                </a:xfrm>
                <a:custGeom>
                  <a:avLst/>
                  <a:gdLst>
                    <a:gd name="T0" fmla="*/ 0 w 159"/>
                    <a:gd name="T1" fmla="*/ 15 h 45"/>
                    <a:gd name="T2" fmla="*/ 159 w 159"/>
                    <a:gd name="T3" fmla="*/ 17 h 45"/>
                    <a:gd name="T4" fmla="*/ 0 w 159"/>
                    <a:gd name="T5" fmla="*/ 15 h 45"/>
                    <a:gd name="connsiteX0" fmla="*/ 0 w 10455"/>
                    <a:gd name="connsiteY0" fmla="*/ 1211 h 4354"/>
                    <a:gd name="connsiteX1" fmla="*/ 10455 w 10455"/>
                    <a:gd name="connsiteY1" fmla="*/ 1869 h 4354"/>
                    <a:gd name="connsiteX2" fmla="*/ 0 w 10455"/>
                    <a:gd name="connsiteY2" fmla="*/ 1211 h 4354"/>
                    <a:gd name="connsiteX0" fmla="*/ 0 w 10373"/>
                    <a:gd name="connsiteY0" fmla="*/ 2615 h 9907"/>
                    <a:gd name="connsiteX1" fmla="*/ 10373 w 10373"/>
                    <a:gd name="connsiteY1" fmla="*/ 4371 h 9907"/>
                    <a:gd name="connsiteX2" fmla="*/ 0 w 10373"/>
                    <a:gd name="connsiteY2" fmla="*/ 2615 h 9907"/>
                    <a:gd name="connsiteX0" fmla="*/ 0 w 9651"/>
                    <a:gd name="connsiteY0" fmla="*/ 2918 h 10159"/>
                    <a:gd name="connsiteX1" fmla="*/ 9651 w 9651"/>
                    <a:gd name="connsiteY1" fmla="*/ 4280 h 10159"/>
                    <a:gd name="connsiteX2" fmla="*/ 0 w 9651"/>
                    <a:gd name="connsiteY2" fmla="*/ 2918 h 10159"/>
                    <a:gd name="connsiteX0" fmla="*/ 0 w 9794"/>
                    <a:gd name="connsiteY0" fmla="*/ 2872 h 9999"/>
                    <a:gd name="connsiteX1" fmla="*/ 9794 w 9794"/>
                    <a:gd name="connsiteY1" fmla="*/ 4213 h 9999"/>
                    <a:gd name="connsiteX2" fmla="*/ 0 w 9794"/>
                    <a:gd name="connsiteY2" fmla="*/ 2872 h 99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794" h="9999">
                      <a:moveTo>
                        <a:pt x="0" y="2872"/>
                      </a:moveTo>
                      <a:cubicBezTo>
                        <a:pt x="0" y="2872"/>
                        <a:pt x="6669" y="-4408"/>
                        <a:pt x="9794" y="4213"/>
                      </a:cubicBezTo>
                      <a:cubicBezTo>
                        <a:pt x="9794" y="4213"/>
                        <a:pt x="5047" y="18086"/>
                        <a:pt x="0" y="2872"/>
                      </a:cubicBezTo>
                      <a:close/>
                    </a:path>
                  </a:pathLst>
                </a:custGeom>
                <a:solidFill>
                  <a:srgbClr val="282829"/>
                </a:solidFill>
                <a:ln w="14288" cap="flat">
                  <a:solidFill>
                    <a:srgbClr val="282829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17"/>
                <p:cNvSpPr>
                  <a:spLocks/>
                </p:cNvSpPr>
                <p:nvPr/>
              </p:nvSpPr>
              <p:spPr bwMode="auto">
                <a:xfrm flipV="1">
                  <a:off x="4742981" y="3485915"/>
                  <a:ext cx="703133" cy="255492"/>
                </a:xfrm>
                <a:custGeom>
                  <a:avLst/>
                  <a:gdLst>
                    <a:gd name="T0" fmla="*/ 2 w 141"/>
                    <a:gd name="T1" fmla="*/ 1 h 51"/>
                    <a:gd name="T2" fmla="*/ 137 w 141"/>
                    <a:gd name="T3" fmla="*/ 0 h 51"/>
                    <a:gd name="T4" fmla="*/ 139 w 141"/>
                    <a:gd name="T5" fmla="*/ 38 h 51"/>
                    <a:gd name="T6" fmla="*/ 141 w 141"/>
                    <a:gd name="T7" fmla="*/ 50 h 51"/>
                    <a:gd name="T8" fmla="*/ 2 w 141"/>
                    <a:gd name="T9" fmla="*/ 51 h 51"/>
                    <a:gd name="T10" fmla="*/ 0 w 141"/>
                    <a:gd name="T11" fmla="*/ 51 h 51"/>
                    <a:gd name="T12" fmla="*/ 2 w 141"/>
                    <a:gd name="T13" fmla="*/ 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1" h="51">
                      <a:moveTo>
                        <a:pt x="2" y="1"/>
                      </a:moveTo>
                      <a:cubicBezTo>
                        <a:pt x="2" y="1"/>
                        <a:pt x="90" y="11"/>
                        <a:pt x="137" y="0"/>
                      </a:cubicBezTo>
                      <a:cubicBezTo>
                        <a:pt x="139" y="38"/>
                        <a:pt x="139" y="38"/>
                        <a:pt x="139" y="38"/>
                      </a:cubicBezTo>
                      <a:cubicBezTo>
                        <a:pt x="141" y="50"/>
                        <a:pt x="141" y="50"/>
                        <a:pt x="141" y="50"/>
                      </a:cubicBezTo>
                      <a:cubicBezTo>
                        <a:pt x="2" y="51"/>
                        <a:pt x="2" y="51"/>
                        <a:pt x="2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lnTo>
                        <a:pt x="2" y="1"/>
                      </a:lnTo>
                      <a:close/>
                    </a:path>
                  </a:pathLst>
                </a:custGeom>
                <a:solidFill>
                  <a:srgbClr val="F9F9F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93" name="Freeform 18"/>
              <p:cNvSpPr>
                <a:spLocks/>
              </p:cNvSpPr>
              <p:nvPr/>
            </p:nvSpPr>
            <p:spPr bwMode="auto">
              <a:xfrm flipV="1">
                <a:off x="-4569703" y="-18113"/>
                <a:ext cx="1224592" cy="3677127"/>
              </a:xfrm>
              <a:custGeom>
                <a:avLst/>
                <a:gdLst>
                  <a:gd name="T0" fmla="*/ 9 w 183"/>
                  <a:gd name="T1" fmla="*/ 0 h 204"/>
                  <a:gd name="T2" fmla="*/ 174 w 183"/>
                  <a:gd name="T3" fmla="*/ 4 h 204"/>
                  <a:gd name="T4" fmla="*/ 183 w 183"/>
                  <a:gd name="T5" fmla="*/ 204 h 204"/>
                  <a:gd name="T6" fmla="*/ 0 w 183"/>
                  <a:gd name="T7" fmla="*/ 204 h 204"/>
                  <a:gd name="T8" fmla="*/ 9 w 183"/>
                  <a:gd name="T9" fmla="*/ 0 h 204"/>
                  <a:gd name="connsiteX0" fmla="*/ 2330 w 11838"/>
                  <a:gd name="connsiteY0" fmla="*/ 0 h 35980"/>
                  <a:gd name="connsiteX1" fmla="*/ 11346 w 11838"/>
                  <a:gd name="connsiteY1" fmla="*/ 196 h 35980"/>
                  <a:gd name="connsiteX2" fmla="*/ 11838 w 11838"/>
                  <a:gd name="connsiteY2" fmla="*/ 10000 h 35980"/>
                  <a:gd name="connsiteX3" fmla="*/ 0 w 11838"/>
                  <a:gd name="connsiteY3" fmla="*/ 35980 h 35980"/>
                  <a:gd name="connsiteX4" fmla="*/ 2330 w 11838"/>
                  <a:gd name="connsiteY4" fmla="*/ 0 h 35980"/>
                  <a:gd name="connsiteX0" fmla="*/ 2330 w 13425"/>
                  <a:gd name="connsiteY0" fmla="*/ 0 h 36130"/>
                  <a:gd name="connsiteX1" fmla="*/ 11346 w 13425"/>
                  <a:gd name="connsiteY1" fmla="*/ 196 h 36130"/>
                  <a:gd name="connsiteX2" fmla="*/ 13425 w 13425"/>
                  <a:gd name="connsiteY2" fmla="*/ 36130 h 36130"/>
                  <a:gd name="connsiteX3" fmla="*/ 0 w 13425"/>
                  <a:gd name="connsiteY3" fmla="*/ 35980 h 36130"/>
                  <a:gd name="connsiteX4" fmla="*/ 2330 w 13425"/>
                  <a:gd name="connsiteY4" fmla="*/ 0 h 3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25" h="36130">
                    <a:moveTo>
                      <a:pt x="2330" y="0"/>
                    </a:moveTo>
                    <a:cubicBezTo>
                      <a:pt x="2330" y="0"/>
                      <a:pt x="5281" y="1275"/>
                      <a:pt x="11346" y="196"/>
                    </a:cubicBezTo>
                    <a:lnTo>
                      <a:pt x="13425" y="36130"/>
                    </a:lnTo>
                    <a:cubicBezTo>
                      <a:pt x="3425" y="36130"/>
                      <a:pt x="0" y="35980"/>
                      <a:pt x="0" y="35980"/>
                    </a:cubicBezTo>
                    <a:cubicBezTo>
                      <a:pt x="164" y="32647"/>
                      <a:pt x="2166" y="3333"/>
                      <a:pt x="2330" y="0"/>
                    </a:cubicBez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1" dirty="0"/>
              </a:p>
            </p:txBody>
          </p:sp>
        </p:grpSp>
        <p:grpSp>
          <p:nvGrpSpPr>
            <p:cNvPr id="209" name="Gruppieren 208"/>
            <p:cNvGrpSpPr/>
            <p:nvPr/>
          </p:nvGrpSpPr>
          <p:grpSpPr>
            <a:xfrm>
              <a:off x="7468511" y="-3667231"/>
              <a:ext cx="2093327" cy="6759896"/>
              <a:chOff x="-1833794" y="-9608"/>
              <a:chExt cx="1792395" cy="5788109"/>
            </a:xfrm>
          </p:grpSpPr>
          <p:sp>
            <p:nvSpPr>
              <p:cNvPr id="210" name="Freeform 29"/>
              <p:cNvSpPr>
                <a:spLocks/>
              </p:cNvSpPr>
              <p:nvPr/>
            </p:nvSpPr>
            <p:spPr bwMode="auto">
              <a:xfrm rot="21197694">
                <a:off x="-1068436" y="4094752"/>
                <a:ext cx="841154" cy="117918"/>
              </a:xfrm>
              <a:custGeom>
                <a:avLst/>
                <a:gdLst>
                  <a:gd name="T0" fmla="*/ 0 w 924"/>
                  <a:gd name="T1" fmla="*/ 208 h 352"/>
                  <a:gd name="T2" fmla="*/ 924 w 924"/>
                  <a:gd name="T3" fmla="*/ 208 h 352"/>
                  <a:gd name="T4" fmla="*/ 0 w 924"/>
                  <a:gd name="T5" fmla="*/ 208 h 352"/>
                  <a:gd name="connsiteX0" fmla="*/ 0 w 10068"/>
                  <a:gd name="connsiteY0" fmla="*/ 2599 h 4426"/>
                  <a:gd name="connsiteX1" fmla="*/ 10068 w 10068"/>
                  <a:gd name="connsiteY1" fmla="*/ 2636 h 4426"/>
                  <a:gd name="connsiteX2" fmla="*/ 0 w 10068"/>
                  <a:gd name="connsiteY2" fmla="*/ 2599 h 4426"/>
                  <a:gd name="connsiteX0" fmla="*/ 0 w 9921"/>
                  <a:gd name="connsiteY0" fmla="*/ 5757 h 9928"/>
                  <a:gd name="connsiteX1" fmla="*/ 9921 w 9921"/>
                  <a:gd name="connsiteY1" fmla="*/ 5997 h 9928"/>
                  <a:gd name="connsiteX2" fmla="*/ 0 w 9921"/>
                  <a:gd name="connsiteY2" fmla="*/ 5757 h 9928"/>
                  <a:gd name="connsiteX0" fmla="*/ 0 w 9973"/>
                  <a:gd name="connsiteY0" fmla="*/ 6183 h 10249"/>
                  <a:gd name="connsiteX1" fmla="*/ 9973 w 9973"/>
                  <a:gd name="connsiteY1" fmla="*/ 5905 h 10249"/>
                  <a:gd name="connsiteX2" fmla="*/ 0 w 9973"/>
                  <a:gd name="connsiteY2" fmla="*/ 6183 h 10249"/>
                  <a:gd name="connsiteX0" fmla="*/ 0 w 8192"/>
                  <a:gd name="connsiteY0" fmla="*/ 4104 h 8885"/>
                  <a:gd name="connsiteX1" fmla="*/ 8192 w 8192"/>
                  <a:gd name="connsiteY1" fmla="*/ 6538 h 8885"/>
                  <a:gd name="connsiteX2" fmla="*/ 0 w 8192"/>
                  <a:gd name="connsiteY2" fmla="*/ 4104 h 8885"/>
                  <a:gd name="connsiteX0" fmla="*/ 0 w 10082"/>
                  <a:gd name="connsiteY0" fmla="*/ 4552 h 9969"/>
                  <a:gd name="connsiteX1" fmla="*/ 10082 w 10082"/>
                  <a:gd name="connsiteY1" fmla="*/ 7390 h 9969"/>
                  <a:gd name="connsiteX2" fmla="*/ 0 w 10082"/>
                  <a:gd name="connsiteY2" fmla="*/ 4552 h 9969"/>
                  <a:gd name="connsiteX0" fmla="*/ 0 w 10000"/>
                  <a:gd name="connsiteY0" fmla="*/ 731 h 6165"/>
                  <a:gd name="connsiteX1" fmla="*/ 10000 w 10000"/>
                  <a:gd name="connsiteY1" fmla="*/ 3578 h 6165"/>
                  <a:gd name="connsiteX2" fmla="*/ 0 w 10000"/>
                  <a:gd name="connsiteY2" fmla="*/ 731 h 6165"/>
                  <a:gd name="connsiteX0" fmla="*/ 0 w 10000"/>
                  <a:gd name="connsiteY0" fmla="*/ 1185 h 5947"/>
                  <a:gd name="connsiteX1" fmla="*/ 10000 w 10000"/>
                  <a:gd name="connsiteY1" fmla="*/ 5803 h 5947"/>
                  <a:gd name="connsiteX2" fmla="*/ 0 w 10000"/>
                  <a:gd name="connsiteY2" fmla="*/ 1185 h 5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00" h="5947">
                    <a:moveTo>
                      <a:pt x="0" y="1185"/>
                    </a:moveTo>
                    <a:cubicBezTo>
                      <a:pt x="0" y="1185"/>
                      <a:pt x="3732" y="-3513"/>
                      <a:pt x="10000" y="5803"/>
                    </a:cubicBezTo>
                    <a:cubicBezTo>
                      <a:pt x="10000" y="5803"/>
                      <a:pt x="5458" y="7220"/>
                      <a:pt x="0" y="1185"/>
                    </a:cubicBezTo>
                    <a:close/>
                  </a:path>
                </a:pathLst>
              </a:custGeom>
              <a:solidFill>
                <a:srgbClr val="F9F9F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1" dirty="0"/>
              </a:p>
            </p:txBody>
          </p:sp>
          <p:sp>
            <p:nvSpPr>
              <p:cNvPr id="217" name="Freeform 31"/>
              <p:cNvSpPr>
                <a:spLocks/>
              </p:cNvSpPr>
              <p:nvPr/>
            </p:nvSpPr>
            <p:spPr bwMode="auto">
              <a:xfrm flipH="1" flipV="1">
                <a:off x="-1133306" y="3741407"/>
                <a:ext cx="941645" cy="262550"/>
              </a:xfrm>
              <a:custGeom>
                <a:avLst/>
                <a:gdLst>
                  <a:gd name="T0" fmla="*/ 0 w 158"/>
                  <a:gd name="T1" fmla="*/ 14 h 44"/>
                  <a:gd name="T2" fmla="*/ 158 w 158"/>
                  <a:gd name="T3" fmla="*/ 16 h 44"/>
                  <a:gd name="T4" fmla="*/ 0 w 158"/>
                  <a:gd name="T5" fmla="*/ 1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8" h="44">
                    <a:moveTo>
                      <a:pt x="0" y="14"/>
                    </a:moveTo>
                    <a:cubicBezTo>
                      <a:pt x="0" y="14"/>
                      <a:pt x="106" y="0"/>
                      <a:pt x="158" y="16"/>
                    </a:cubicBezTo>
                    <a:cubicBezTo>
                      <a:pt x="158" y="16"/>
                      <a:pt x="83" y="44"/>
                      <a:pt x="0" y="14"/>
                    </a:cubicBezTo>
                    <a:close/>
                  </a:path>
                </a:pathLst>
              </a:custGeom>
              <a:solidFill>
                <a:srgbClr val="282829"/>
              </a:solidFill>
              <a:ln w="15875" cap="flat">
                <a:solidFill>
                  <a:srgbClr val="282829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1" dirty="0"/>
              </a:p>
            </p:txBody>
          </p:sp>
          <p:grpSp>
            <p:nvGrpSpPr>
              <p:cNvPr id="218" name="Gruppieren 217"/>
              <p:cNvGrpSpPr/>
              <p:nvPr/>
            </p:nvGrpSpPr>
            <p:grpSpPr>
              <a:xfrm>
                <a:off x="-1833794" y="3765131"/>
                <a:ext cx="1694561" cy="2013370"/>
                <a:chOff x="2199286" y="3765131"/>
                <a:chExt cx="1694561" cy="2013370"/>
              </a:xfrm>
            </p:grpSpPr>
            <p:grpSp>
              <p:nvGrpSpPr>
                <p:cNvPr id="222" name="Gruppieren 221"/>
                <p:cNvGrpSpPr/>
                <p:nvPr/>
              </p:nvGrpSpPr>
              <p:grpSpPr>
                <a:xfrm>
                  <a:off x="2847821" y="3765131"/>
                  <a:ext cx="1023638" cy="2013370"/>
                  <a:chOff x="2847821" y="3765130"/>
                  <a:chExt cx="1023638" cy="2304661"/>
                </a:xfrm>
              </p:grpSpPr>
              <p:sp>
                <p:nvSpPr>
                  <p:cNvPr id="227" name="Freeform 6"/>
                  <p:cNvSpPr>
                    <a:spLocks/>
                  </p:cNvSpPr>
                  <p:nvPr/>
                </p:nvSpPr>
                <p:spPr bwMode="auto">
                  <a:xfrm rot="10332468">
                    <a:off x="2847821" y="3765130"/>
                    <a:ext cx="1023638" cy="2304661"/>
                  </a:xfrm>
                  <a:custGeom>
                    <a:avLst/>
                    <a:gdLst>
                      <a:gd name="T0" fmla="*/ 38 w 367"/>
                      <a:gd name="T1" fmla="*/ 816 h 826"/>
                      <a:gd name="T2" fmla="*/ 38 w 367"/>
                      <a:gd name="T3" fmla="*/ 663 h 826"/>
                      <a:gd name="T4" fmla="*/ 19 w 367"/>
                      <a:gd name="T5" fmla="*/ 467 h 826"/>
                      <a:gd name="T6" fmla="*/ 26 w 367"/>
                      <a:gd name="T7" fmla="*/ 454 h 826"/>
                      <a:gd name="T8" fmla="*/ 61 w 367"/>
                      <a:gd name="T9" fmla="*/ 310 h 826"/>
                      <a:gd name="T10" fmla="*/ 87 w 367"/>
                      <a:gd name="T11" fmla="*/ 219 h 826"/>
                      <a:gd name="T12" fmla="*/ 129 w 367"/>
                      <a:gd name="T13" fmla="*/ 131 h 826"/>
                      <a:gd name="T14" fmla="*/ 197 w 367"/>
                      <a:gd name="T15" fmla="*/ 56 h 826"/>
                      <a:gd name="T16" fmla="*/ 187 w 367"/>
                      <a:gd name="T17" fmla="*/ 153 h 826"/>
                      <a:gd name="T18" fmla="*/ 158 w 367"/>
                      <a:gd name="T19" fmla="*/ 240 h 826"/>
                      <a:gd name="T20" fmla="*/ 140 w 367"/>
                      <a:gd name="T21" fmla="*/ 312 h 826"/>
                      <a:gd name="T22" fmla="*/ 149 w 367"/>
                      <a:gd name="T23" fmla="*/ 310 h 826"/>
                      <a:gd name="T24" fmla="*/ 163 w 367"/>
                      <a:gd name="T25" fmla="*/ 238 h 826"/>
                      <a:gd name="T26" fmla="*/ 175 w 367"/>
                      <a:gd name="T27" fmla="*/ 204 h 826"/>
                      <a:gd name="T28" fmla="*/ 211 w 367"/>
                      <a:gd name="T29" fmla="*/ 107 h 826"/>
                      <a:gd name="T30" fmla="*/ 266 w 367"/>
                      <a:gd name="T31" fmla="*/ 16 h 826"/>
                      <a:gd name="T32" fmla="*/ 262 w 367"/>
                      <a:gd name="T33" fmla="*/ 117 h 826"/>
                      <a:gd name="T34" fmla="*/ 237 w 367"/>
                      <a:gd name="T35" fmla="*/ 220 h 826"/>
                      <a:gd name="T36" fmla="*/ 211 w 367"/>
                      <a:gd name="T37" fmla="*/ 321 h 826"/>
                      <a:gd name="T38" fmla="*/ 239 w 367"/>
                      <a:gd name="T39" fmla="*/ 230 h 826"/>
                      <a:gd name="T40" fmla="*/ 263 w 367"/>
                      <a:gd name="T41" fmla="*/ 151 h 826"/>
                      <a:gd name="T42" fmla="*/ 279 w 367"/>
                      <a:gd name="T43" fmla="*/ 73 h 826"/>
                      <a:gd name="T44" fmla="*/ 329 w 367"/>
                      <a:gd name="T45" fmla="*/ 74 h 826"/>
                      <a:gd name="T46" fmla="*/ 315 w 367"/>
                      <a:gd name="T47" fmla="*/ 163 h 826"/>
                      <a:gd name="T48" fmla="*/ 290 w 367"/>
                      <a:gd name="T49" fmla="*/ 256 h 826"/>
                      <a:gd name="T50" fmla="*/ 260 w 367"/>
                      <a:gd name="T51" fmla="*/ 354 h 826"/>
                      <a:gd name="T52" fmla="*/ 270 w 367"/>
                      <a:gd name="T53" fmla="*/ 327 h 826"/>
                      <a:gd name="T54" fmla="*/ 292 w 367"/>
                      <a:gd name="T55" fmla="*/ 267 h 826"/>
                      <a:gd name="T56" fmla="*/ 331 w 367"/>
                      <a:gd name="T57" fmla="*/ 182 h 826"/>
                      <a:gd name="T58" fmla="*/ 339 w 367"/>
                      <a:gd name="T59" fmla="*/ 273 h 826"/>
                      <a:gd name="T60" fmla="*/ 331 w 367"/>
                      <a:gd name="T61" fmla="*/ 323 h 826"/>
                      <a:gd name="T62" fmla="*/ 320 w 367"/>
                      <a:gd name="T63" fmla="*/ 380 h 826"/>
                      <a:gd name="T64" fmla="*/ 318 w 367"/>
                      <a:gd name="T65" fmla="*/ 436 h 826"/>
                      <a:gd name="T66" fmla="*/ 269 w 367"/>
                      <a:gd name="T67" fmla="*/ 650 h 826"/>
                      <a:gd name="T68" fmla="*/ 252 w 367"/>
                      <a:gd name="T69" fmla="*/ 727 h 826"/>
                      <a:gd name="T70" fmla="*/ 256 w 367"/>
                      <a:gd name="T71" fmla="*/ 826 h 826"/>
                      <a:gd name="T72" fmla="*/ 38 w 367"/>
                      <a:gd name="T73" fmla="*/ 816 h 8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367" h="826">
                        <a:moveTo>
                          <a:pt x="38" y="816"/>
                        </a:moveTo>
                        <a:cubicBezTo>
                          <a:pt x="38" y="816"/>
                          <a:pt x="40" y="694"/>
                          <a:pt x="38" y="663"/>
                        </a:cubicBezTo>
                        <a:cubicBezTo>
                          <a:pt x="38" y="663"/>
                          <a:pt x="0" y="563"/>
                          <a:pt x="19" y="467"/>
                        </a:cubicBezTo>
                        <a:cubicBezTo>
                          <a:pt x="19" y="467"/>
                          <a:pt x="21" y="461"/>
                          <a:pt x="26" y="454"/>
                        </a:cubicBezTo>
                        <a:cubicBezTo>
                          <a:pt x="26" y="454"/>
                          <a:pt x="47" y="327"/>
                          <a:pt x="61" y="310"/>
                        </a:cubicBezTo>
                        <a:cubicBezTo>
                          <a:pt x="61" y="310"/>
                          <a:pt x="76" y="235"/>
                          <a:pt x="87" y="219"/>
                        </a:cubicBezTo>
                        <a:cubicBezTo>
                          <a:pt x="87" y="219"/>
                          <a:pt x="125" y="137"/>
                          <a:pt x="129" y="131"/>
                        </a:cubicBezTo>
                        <a:cubicBezTo>
                          <a:pt x="129" y="131"/>
                          <a:pt x="162" y="39"/>
                          <a:pt x="197" y="56"/>
                        </a:cubicBezTo>
                        <a:cubicBezTo>
                          <a:pt x="197" y="56"/>
                          <a:pt x="235" y="67"/>
                          <a:pt x="187" y="153"/>
                        </a:cubicBezTo>
                        <a:cubicBezTo>
                          <a:pt x="187" y="153"/>
                          <a:pt x="177" y="193"/>
                          <a:pt x="158" y="240"/>
                        </a:cubicBezTo>
                        <a:cubicBezTo>
                          <a:pt x="158" y="240"/>
                          <a:pt x="144" y="301"/>
                          <a:pt x="140" y="312"/>
                        </a:cubicBezTo>
                        <a:cubicBezTo>
                          <a:pt x="140" y="312"/>
                          <a:pt x="142" y="321"/>
                          <a:pt x="149" y="310"/>
                        </a:cubicBezTo>
                        <a:cubicBezTo>
                          <a:pt x="149" y="310"/>
                          <a:pt x="158" y="262"/>
                          <a:pt x="163" y="238"/>
                        </a:cubicBezTo>
                        <a:cubicBezTo>
                          <a:pt x="163" y="238"/>
                          <a:pt x="170" y="213"/>
                          <a:pt x="175" y="204"/>
                        </a:cubicBezTo>
                        <a:cubicBezTo>
                          <a:pt x="175" y="204"/>
                          <a:pt x="188" y="146"/>
                          <a:pt x="211" y="107"/>
                        </a:cubicBezTo>
                        <a:cubicBezTo>
                          <a:pt x="211" y="107"/>
                          <a:pt x="223" y="0"/>
                          <a:pt x="266" y="16"/>
                        </a:cubicBezTo>
                        <a:cubicBezTo>
                          <a:pt x="266" y="16"/>
                          <a:pt x="313" y="20"/>
                          <a:pt x="262" y="117"/>
                        </a:cubicBezTo>
                        <a:cubicBezTo>
                          <a:pt x="262" y="117"/>
                          <a:pt x="254" y="177"/>
                          <a:pt x="237" y="220"/>
                        </a:cubicBezTo>
                        <a:cubicBezTo>
                          <a:pt x="237" y="220"/>
                          <a:pt x="210" y="304"/>
                          <a:pt x="211" y="321"/>
                        </a:cubicBezTo>
                        <a:cubicBezTo>
                          <a:pt x="211" y="321"/>
                          <a:pt x="231" y="237"/>
                          <a:pt x="239" y="230"/>
                        </a:cubicBezTo>
                        <a:cubicBezTo>
                          <a:pt x="239" y="230"/>
                          <a:pt x="261" y="164"/>
                          <a:pt x="263" y="151"/>
                        </a:cubicBezTo>
                        <a:cubicBezTo>
                          <a:pt x="263" y="151"/>
                          <a:pt x="280" y="80"/>
                          <a:pt x="279" y="73"/>
                        </a:cubicBezTo>
                        <a:cubicBezTo>
                          <a:pt x="279" y="73"/>
                          <a:pt x="298" y="40"/>
                          <a:pt x="329" y="74"/>
                        </a:cubicBezTo>
                        <a:cubicBezTo>
                          <a:pt x="329" y="74"/>
                          <a:pt x="341" y="91"/>
                          <a:pt x="315" y="163"/>
                        </a:cubicBezTo>
                        <a:cubicBezTo>
                          <a:pt x="315" y="163"/>
                          <a:pt x="299" y="235"/>
                          <a:pt x="290" y="256"/>
                        </a:cubicBezTo>
                        <a:cubicBezTo>
                          <a:pt x="290" y="256"/>
                          <a:pt x="264" y="329"/>
                          <a:pt x="260" y="354"/>
                        </a:cubicBezTo>
                        <a:cubicBezTo>
                          <a:pt x="260" y="354"/>
                          <a:pt x="266" y="329"/>
                          <a:pt x="270" y="327"/>
                        </a:cubicBezTo>
                        <a:cubicBezTo>
                          <a:pt x="270" y="327"/>
                          <a:pt x="285" y="269"/>
                          <a:pt x="292" y="267"/>
                        </a:cubicBezTo>
                        <a:cubicBezTo>
                          <a:pt x="292" y="267"/>
                          <a:pt x="302" y="179"/>
                          <a:pt x="331" y="182"/>
                        </a:cubicBezTo>
                        <a:cubicBezTo>
                          <a:pt x="331" y="182"/>
                          <a:pt x="367" y="176"/>
                          <a:pt x="339" y="273"/>
                        </a:cubicBezTo>
                        <a:cubicBezTo>
                          <a:pt x="339" y="273"/>
                          <a:pt x="331" y="320"/>
                          <a:pt x="331" y="323"/>
                        </a:cubicBezTo>
                        <a:cubicBezTo>
                          <a:pt x="331" y="323"/>
                          <a:pt x="327" y="366"/>
                          <a:pt x="320" y="380"/>
                        </a:cubicBezTo>
                        <a:cubicBezTo>
                          <a:pt x="320" y="380"/>
                          <a:pt x="316" y="428"/>
                          <a:pt x="318" y="436"/>
                        </a:cubicBezTo>
                        <a:cubicBezTo>
                          <a:pt x="318" y="436"/>
                          <a:pt x="323" y="571"/>
                          <a:pt x="269" y="650"/>
                        </a:cubicBezTo>
                        <a:cubicBezTo>
                          <a:pt x="269" y="650"/>
                          <a:pt x="248" y="684"/>
                          <a:pt x="252" y="727"/>
                        </a:cubicBezTo>
                        <a:cubicBezTo>
                          <a:pt x="252" y="727"/>
                          <a:pt x="253" y="821"/>
                          <a:pt x="256" y="826"/>
                        </a:cubicBezTo>
                        <a:lnTo>
                          <a:pt x="38" y="816"/>
                        </a:lnTo>
                        <a:close/>
                      </a:path>
                    </a:pathLst>
                  </a:custGeom>
                  <a:solidFill>
                    <a:srgbClr val="F8C080"/>
                  </a:solidFill>
                  <a:ln w="1587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28" name="Freeform 7"/>
                  <p:cNvSpPr>
                    <a:spLocks/>
                  </p:cNvSpPr>
                  <p:nvPr/>
                </p:nvSpPr>
                <p:spPr bwMode="auto">
                  <a:xfrm rot="10332468">
                    <a:off x="3102651" y="4296599"/>
                    <a:ext cx="427401" cy="774517"/>
                  </a:xfrm>
                  <a:custGeom>
                    <a:avLst/>
                    <a:gdLst>
                      <a:gd name="T0" fmla="*/ 41 w 153"/>
                      <a:gd name="T1" fmla="*/ 106 h 278"/>
                      <a:gd name="T2" fmla="*/ 66 w 153"/>
                      <a:gd name="T3" fmla="*/ 278 h 278"/>
                      <a:gd name="T4" fmla="*/ 114 w 153"/>
                      <a:gd name="T5" fmla="*/ 192 h 278"/>
                      <a:gd name="T6" fmla="*/ 153 w 153"/>
                      <a:gd name="T7" fmla="*/ 117 h 278"/>
                      <a:gd name="T8" fmla="*/ 27 w 153"/>
                      <a:gd name="T9" fmla="*/ 0 h 278"/>
                      <a:gd name="T10" fmla="*/ 41 w 153"/>
                      <a:gd name="T11" fmla="*/ 106 h 27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53" h="278">
                        <a:moveTo>
                          <a:pt x="41" y="106"/>
                        </a:moveTo>
                        <a:cubicBezTo>
                          <a:pt x="41" y="106"/>
                          <a:pt x="99" y="198"/>
                          <a:pt x="66" y="278"/>
                        </a:cubicBezTo>
                        <a:cubicBezTo>
                          <a:pt x="66" y="278"/>
                          <a:pt x="115" y="234"/>
                          <a:pt x="114" y="192"/>
                        </a:cubicBezTo>
                        <a:cubicBezTo>
                          <a:pt x="114" y="192"/>
                          <a:pt x="110" y="111"/>
                          <a:pt x="153" y="117"/>
                        </a:cubicBezTo>
                        <a:cubicBezTo>
                          <a:pt x="153" y="117"/>
                          <a:pt x="35" y="69"/>
                          <a:pt x="27" y="0"/>
                        </a:cubicBezTo>
                        <a:cubicBezTo>
                          <a:pt x="27" y="0"/>
                          <a:pt x="0" y="29"/>
                          <a:pt x="41" y="106"/>
                        </a:cubicBezTo>
                        <a:close/>
                      </a:path>
                    </a:pathLst>
                  </a:custGeom>
                  <a:solidFill>
                    <a:srgbClr val="F0A868"/>
                  </a:solidFill>
                  <a:ln w="1587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29" name="Freeform 10"/>
                  <p:cNvSpPr>
                    <a:spLocks/>
                  </p:cNvSpPr>
                  <p:nvPr/>
                </p:nvSpPr>
                <p:spPr bwMode="auto">
                  <a:xfrm rot="10332468">
                    <a:off x="3069568" y="4946739"/>
                    <a:ext cx="110983" cy="161752"/>
                  </a:xfrm>
                  <a:custGeom>
                    <a:avLst/>
                    <a:gdLst>
                      <a:gd name="T0" fmla="*/ 40 w 40"/>
                      <a:gd name="T1" fmla="*/ 58 h 58"/>
                      <a:gd name="T2" fmla="*/ 17 w 40"/>
                      <a:gd name="T3" fmla="*/ 0 h 58"/>
                      <a:gd name="T4" fmla="*/ 0 w 40"/>
                      <a:gd name="T5" fmla="*/ 29 h 58"/>
                      <a:gd name="T6" fmla="*/ 40 w 40"/>
                      <a:gd name="T7" fmla="*/ 58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0" h="58">
                        <a:moveTo>
                          <a:pt x="40" y="58"/>
                        </a:moveTo>
                        <a:cubicBezTo>
                          <a:pt x="40" y="58"/>
                          <a:pt x="19" y="26"/>
                          <a:pt x="17" y="0"/>
                        </a:cubicBezTo>
                        <a:cubicBezTo>
                          <a:pt x="17" y="0"/>
                          <a:pt x="9" y="20"/>
                          <a:pt x="0" y="29"/>
                        </a:cubicBezTo>
                        <a:cubicBezTo>
                          <a:pt x="0" y="29"/>
                          <a:pt x="9" y="23"/>
                          <a:pt x="40" y="58"/>
                        </a:cubicBezTo>
                        <a:close/>
                      </a:path>
                    </a:pathLst>
                  </a:custGeom>
                  <a:solidFill>
                    <a:srgbClr val="F0A868"/>
                  </a:solidFill>
                  <a:ln w="1587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30" name="Freeform 11"/>
                  <p:cNvSpPr>
                    <a:spLocks/>
                  </p:cNvSpPr>
                  <p:nvPr/>
                </p:nvSpPr>
                <p:spPr bwMode="auto">
                  <a:xfrm rot="10332468">
                    <a:off x="3060829" y="4064398"/>
                    <a:ext cx="181823" cy="69660"/>
                  </a:xfrm>
                  <a:custGeom>
                    <a:avLst/>
                    <a:gdLst>
                      <a:gd name="T0" fmla="*/ 65 w 65"/>
                      <a:gd name="T1" fmla="*/ 0 h 25"/>
                      <a:gd name="T2" fmla="*/ 0 w 65"/>
                      <a:gd name="T3" fmla="*/ 0 h 25"/>
                      <a:gd name="T4" fmla="*/ 61 w 65"/>
                      <a:gd name="T5" fmla="*/ 11 h 25"/>
                      <a:gd name="T6" fmla="*/ 65 w 65"/>
                      <a:gd name="T7" fmla="*/ 7 h 25"/>
                      <a:gd name="T8" fmla="*/ 65 w 65"/>
                      <a:gd name="T9" fmla="*/ 0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5" h="25">
                        <a:moveTo>
                          <a:pt x="65" y="0"/>
                        </a:moveTo>
                        <a:cubicBezTo>
                          <a:pt x="65" y="0"/>
                          <a:pt x="45" y="16"/>
                          <a:pt x="0" y="0"/>
                        </a:cubicBezTo>
                        <a:cubicBezTo>
                          <a:pt x="0" y="0"/>
                          <a:pt x="40" y="25"/>
                          <a:pt x="61" y="11"/>
                        </a:cubicBezTo>
                        <a:cubicBezTo>
                          <a:pt x="65" y="7"/>
                          <a:pt x="65" y="7"/>
                          <a:pt x="65" y="7"/>
                        </a:cubicBezTo>
                        <a:lnTo>
                          <a:pt x="65" y="0"/>
                        </a:lnTo>
                        <a:close/>
                      </a:path>
                    </a:pathLst>
                  </a:custGeom>
                  <a:solidFill>
                    <a:srgbClr val="F0A868"/>
                  </a:solidFill>
                  <a:ln w="1587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sp>
              <p:nvSpPr>
                <p:cNvPr id="223" name="Freeform 28"/>
                <p:cNvSpPr>
                  <a:spLocks/>
                </p:cNvSpPr>
                <p:nvPr/>
              </p:nvSpPr>
              <p:spPr bwMode="auto">
                <a:xfrm rot="20986981" flipH="1" flipV="1">
                  <a:off x="2199286" y="4346573"/>
                  <a:ext cx="1563129" cy="1423226"/>
                </a:xfrm>
                <a:custGeom>
                  <a:avLst/>
                  <a:gdLst>
                    <a:gd name="T0" fmla="*/ 395 w 581"/>
                    <a:gd name="T1" fmla="*/ 0 h 529"/>
                    <a:gd name="T2" fmla="*/ 581 w 581"/>
                    <a:gd name="T3" fmla="*/ 267 h 529"/>
                    <a:gd name="T4" fmla="*/ 182 w 581"/>
                    <a:gd name="T5" fmla="*/ 529 h 529"/>
                    <a:gd name="T6" fmla="*/ 0 w 581"/>
                    <a:gd name="T7" fmla="*/ 265 h 529"/>
                    <a:gd name="T8" fmla="*/ 395 w 581"/>
                    <a:gd name="T9" fmla="*/ 0 h 5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1" h="529">
                      <a:moveTo>
                        <a:pt x="395" y="0"/>
                      </a:moveTo>
                      <a:lnTo>
                        <a:pt x="581" y="267"/>
                      </a:lnTo>
                      <a:lnTo>
                        <a:pt x="182" y="529"/>
                      </a:lnTo>
                      <a:lnTo>
                        <a:pt x="0" y="265"/>
                      </a:lnTo>
                      <a:lnTo>
                        <a:pt x="395" y="0"/>
                      </a:lnTo>
                      <a:close/>
                    </a:path>
                  </a:pathLst>
                </a:custGeom>
                <a:solidFill>
                  <a:srgbClr val="F9F9F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grpSp>
              <p:nvGrpSpPr>
                <p:cNvPr id="224" name="Gruppieren 223"/>
                <p:cNvGrpSpPr/>
                <p:nvPr/>
              </p:nvGrpSpPr>
              <p:grpSpPr>
                <a:xfrm>
                  <a:off x="3059115" y="3889000"/>
                  <a:ext cx="834732" cy="1215723"/>
                  <a:chOff x="3027420" y="3889000"/>
                  <a:chExt cx="834732" cy="1215723"/>
                </a:xfrm>
              </p:grpSpPr>
              <p:sp>
                <p:nvSpPr>
                  <p:cNvPr id="225" name="Freeform 8"/>
                  <p:cNvSpPr>
                    <a:spLocks/>
                  </p:cNvSpPr>
                  <p:nvPr/>
                </p:nvSpPr>
                <p:spPr bwMode="auto">
                  <a:xfrm rot="10332468">
                    <a:off x="3027420" y="3889000"/>
                    <a:ext cx="834732" cy="1211364"/>
                  </a:xfrm>
                  <a:custGeom>
                    <a:avLst/>
                    <a:gdLst>
                      <a:gd name="T0" fmla="*/ 281 w 299"/>
                      <a:gd name="T1" fmla="*/ 25 h 434"/>
                      <a:gd name="T2" fmla="*/ 192 w 299"/>
                      <a:gd name="T3" fmla="*/ 92 h 434"/>
                      <a:gd name="T4" fmla="*/ 146 w 299"/>
                      <a:gd name="T5" fmla="*/ 123 h 434"/>
                      <a:gd name="T6" fmla="*/ 168 w 299"/>
                      <a:gd name="T7" fmla="*/ 344 h 434"/>
                      <a:gd name="T8" fmla="*/ 39 w 299"/>
                      <a:gd name="T9" fmla="*/ 119 h 434"/>
                      <a:gd name="T10" fmla="*/ 158 w 299"/>
                      <a:gd name="T11" fmla="*/ 10 h 434"/>
                      <a:gd name="T12" fmla="*/ 199 w 299"/>
                      <a:gd name="T13" fmla="*/ 17 h 434"/>
                      <a:gd name="T14" fmla="*/ 247 w 299"/>
                      <a:gd name="T15" fmla="*/ 17 h 434"/>
                      <a:gd name="T16" fmla="*/ 281 w 299"/>
                      <a:gd name="T17" fmla="*/ 25 h 4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99" h="434">
                        <a:moveTo>
                          <a:pt x="281" y="25"/>
                        </a:moveTo>
                        <a:cubicBezTo>
                          <a:pt x="281" y="25"/>
                          <a:pt x="299" y="77"/>
                          <a:pt x="192" y="92"/>
                        </a:cubicBezTo>
                        <a:cubicBezTo>
                          <a:pt x="192" y="92"/>
                          <a:pt x="183" y="110"/>
                          <a:pt x="146" y="123"/>
                        </a:cubicBezTo>
                        <a:cubicBezTo>
                          <a:pt x="146" y="123"/>
                          <a:pt x="240" y="200"/>
                          <a:pt x="168" y="344"/>
                        </a:cubicBezTo>
                        <a:cubicBezTo>
                          <a:pt x="168" y="344"/>
                          <a:pt x="0" y="434"/>
                          <a:pt x="39" y="119"/>
                        </a:cubicBezTo>
                        <a:cubicBezTo>
                          <a:pt x="39" y="119"/>
                          <a:pt x="51" y="86"/>
                          <a:pt x="158" y="10"/>
                        </a:cubicBezTo>
                        <a:cubicBezTo>
                          <a:pt x="158" y="10"/>
                          <a:pt x="177" y="9"/>
                          <a:pt x="199" y="17"/>
                        </a:cubicBezTo>
                        <a:cubicBezTo>
                          <a:pt x="199" y="17"/>
                          <a:pt x="234" y="22"/>
                          <a:pt x="247" y="17"/>
                        </a:cubicBezTo>
                        <a:cubicBezTo>
                          <a:pt x="247" y="17"/>
                          <a:pt x="278" y="0"/>
                          <a:pt x="281" y="25"/>
                        </a:cubicBezTo>
                        <a:close/>
                      </a:path>
                    </a:pathLst>
                  </a:custGeom>
                  <a:solidFill>
                    <a:srgbClr val="F8C080"/>
                  </a:solidFill>
                  <a:ln w="1587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26" name="Freeform 9"/>
                  <p:cNvSpPr>
                    <a:spLocks/>
                  </p:cNvSpPr>
                  <p:nvPr/>
                </p:nvSpPr>
                <p:spPr bwMode="auto">
                  <a:xfrm rot="10332468">
                    <a:off x="3137248" y="4994921"/>
                    <a:ext cx="173558" cy="109802"/>
                  </a:xfrm>
                  <a:custGeom>
                    <a:avLst/>
                    <a:gdLst>
                      <a:gd name="T0" fmla="*/ 11 w 62"/>
                      <a:gd name="T1" fmla="*/ 33 h 39"/>
                      <a:gd name="T2" fmla="*/ 4 w 62"/>
                      <a:gd name="T3" fmla="*/ 8 h 39"/>
                      <a:gd name="T4" fmla="*/ 40 w 62"/>
                      <a:gd name="T5" fmla="*/ 0 h 39"/>
                      <a:gd name="T6" fmla="*/ 50 w 62"/>
                      <a:gd name="T7" fmla="*/ 23 h 39"/>
                      <a:gd name="T8" fmla="*/ 11 w 62"/>
                      <a:gd name="T9" fmla="*/ 33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2" h="39">
                        <a:moveTo>
                          <a:pt x="11" y="33"/>
                        </a:moveTo>
                        <a:cubicBezTo>
                          <a:pt x="11" y="33"/>
                          <a:pt x="0" y="18"/>
                          <a:pt x="4" y="8"/>
                        </a:cubicBezTo>
                        <a:cubicBezTo>
                          <a:pt x="4" y="8"/>
                          <a:pt x="11" y="14"/>
                          <a:pt x="40" y="0"/>
                        </a:cubicBezTo>
                        <a:cubicBezTo>
                          <a:pt x="40" y="0"/>
                          <a:pt x="62" y="2"/>
                          <a:pt x="50" y="23"/>
                        </a:cubicBezTo>
                        <a:cubicBezTo>
                          <a:pt x="50" y="23"/>
                          <a:pt x="27" y="39"/>
                          <a:pt x="11" y="33"/>
                        </a:cubicBezTo>
                        <a:close/>
                      </a:path>
                    </a:pathLst>
                  </a:custGeom>
                  <a:solidFill>
                    <a:srgbClr val="F9C998"/>
                  </a:solidFill>
                  <a:ln w="1587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219" name="Gruppieren 218"/>
              <p:cNvGrpSpPr/>
              <p:nvPr/>
            </p:nvGrpSpPr>
            <p:grpSpPr>
              <a:xfrm>
                <a:off x="-1379854" y="-9608"/>
                <a:ext cx="1338455" cy="4176334"/>
                <a:chOff x="-1379854" y="-9608"/>
                <a:chExt cx="1338455" cy="4176334"/>
              </a:xfrm>
            </p:grpSpPr>
            <p:sp>
              <p:nvSpPr>
                <p:cNvPr id="220" name="Freeform 32"/>
                <p:cNvSpPr>
                  <a:spLocks/>
                </p:cNvSpPr>
                <p:nvPr/>
              </p:nvSpPr>
              <p:spPr bwMode="auto">
                <a:xfrm flipH="1" flipV="1">
                  <a:off x="-1097997" y="3841187"/>
                  <a:ext cx="895907" cy="325539"/>
                </a:xfrm>
                <a:custGeom>
                  <a:avLst/>
                  <a:gdLst>
                    <a:gd name="T0" fmla="*/ 2 w 141"/>
                    <a:gd name="T1" fmla="*/ 1 h 51"/>
                    <a:gd name="T2" fmla="*/ 137 w 141"/>
                    <a:gd name="T3" fmla="*/ 0 h 51"/>
                    <a:gd name="T4" fmla="*/ 139 w 141"/>
                    <a:gd name="T5" fmla="*/ 38 h 51"/>
                    <a:gd name="T6" fmla="*/ 141 w 141"/>
                    <a:gd name="T7" fmla="*/ 50 h 51"/>
                    <a:gd name="T8" fmla="*/ 2 w 141"/>
                    <a:gd name="T9" fmla="*/ 51 h 51"/>
                    <a:gd name="T10" fmla="*/ 0 w 141"/>
                    <a:gd name="T11" fmla="*/ 51 h 51"/>
                    <a:gd name="T12" fmla="*/ 2 w 141"/>
                    <a:gd name="T13" fmla="*/ 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1" h="51">
                      <a:moveTo>
                        <a:pt x="2" y="1"/>
                      </a:moveTo>
                      <a:cubicBezTo>
                        <a:pt x="2" y="1"/>
                        <a:pt x="90" y="11"/>
                        <a:pt x="137" y="0"/>
                      </a:cubicBezTo>
                      <a:cubicBezTo>
                        <a:pt x="139" y="38"/>
                        <a:pt x="139" y="38"/>
                        <a:pt x="139" y="38"/>
                      </a:cubicBezTo>
                      <a:cubicBezTo>
                        <a:pt x="141" y="50"/>
                        <a:pt x="141" y="50"/>
                        <a:pt x="141" y="50"/>
                      </a:cubicBezTo>
                      <a:cubicBezTo>
                        <a:pt x="2" y="51"/>
                        <a:pt x="2" y="51"/>
                        <a:pt x="2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lnTo>
                        <a:pt x="2" y="1"/>
                      </a:lnTo>
                      <a:close/>
                    </a:path>
                  </a:pathLst>
                </a:custGeom>
                <a:solidFill>
                  <a:srgbClr val="F9F9F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221" name="Freeform 33"/>
                <p:cNvSpPr>
                  <a:spLocks/>
                </p:cNvSpPr>
                <p:nvPr/>
              </p:nvSpPr>
              <p:spPr bwMode="auto">
                <a:xfrm flipH="1" flipV="1">
                  <a:off x="-1379854" y="-9608"/>
                  <a:ext cx="1338455" cy="3947649"/>
                </a:xfrm>
                <a:custGeom>
                  <a:avLst/>
                  <a:gdLst>
                    <a:gd name="T0" fmla="*/ 9 w 183"/>
                    <a:gd name="T1" fmla="*/ 0 h 204"/>
                    <a:gd name="T2" fmla="*/ 174 w 183"/>
                    <a:gd name="T3" fmla="*/ 4 h 204"/>
                    <a:gd name="T4" fmla="*/ 183 w 183"/>
                    <a:gd name="T5" fmla="*/ 204 h 204"/>
                    <a:gd name="T6" fmla="*/ 0 w 183"/>
                    <a:gd name="T7" fmla="*/ 204 h 204"/>
                    <a:gd name="T8" fmla="*/ 9 w 183"/>
                    <a:gd name="T9" fmla="*/ 0 h 204"/>
                    <a:gd name="connsiteX0" fmla="*/ 492 w 11299"/>
                    <a:gd name="connsiteY0" fmla="*/ 0 h 30442"/>
                    <a:gd name="connsiteX1" fmla="*/ 9508 w 11299"/>
                    <a:gd name="connsiteY1" fmla="*/ 196 h 30442"/>
                    <a:gd name="connsiteX2" fmla="*/ 11299 w 11299"/>
                    <a:gd name="connsiteY2" fmla="*/ 30442 h 30442"/>
                    <a:gd name="connsiteX3" fmla="*/ 0 w 11299"/>
                    <a:gd name="connsiteY3" fmla="*/ 10000 h 30442"/>
                    <a:gd name="connsiteX4" fmla="*/ 492 w 11299"/>
                    <a:gd name="connsiteY4" fmla="*/ 0 h 30442"/>
                    <a:gd name="connsiteX0" fmla="*/ 709 w 11516"/>
                    <a:gd name="connsiteY0" fmla="*/ 0 h 30442"/>
                    <a:gd name="connsiteX1" fmla="*/ 9725 w 11516"/>
                    <a:gd name="connsiteY1" fmla="*/ 196 h 30442"/>
                    <a:gd name="connsiteX2" fmla="*/ 11516 w 11516"/>
                    <a:gd name="connsiteY2" fmla="*/ 30442 h 30442"/>
                    <a:gd name="connsiteX3" fmla="*/ 0 w 11516"/>
                    <a:gd name="connsiteY3" fmla="*/ 30313 h 30442"/>
                    <a:gd name="connsiteX4" fmla="*/ 709 w 11516"/>
                    <a:gd name="connsiteY4" fmla="*/ 0 h 30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516" h="30442">
                      <a:moveTo>
                        <a:pt x="709" y="0"/>
                      </a:moveTo>
                      <a:cubicBezTo>
                        <a:pt x="709" y="0"/>
                        <a:pt x="3660" y="1275"/>
                        <a:pt x="9725" y="196"/>
                      </a:cubicBezTo>
                      <a:cubicBezTo>
                        <a:pt x="10217" y="10000"/>
                        <a:pt x="11516" y="30442"/>
                        <a:pt x="11516" y="30442"/>
                      </a:cubicBezTo>
                      <a:cubicBezTo>
                        <a:pt x="1516" y="30442"/>
                        <a:pt x="0" y="30313"/>
                        <a:pt x="0" y="30313"/>
                      </a:cubicBezTo>
                      <a:cubicBezTo>
                        <a:pt x="236" y="20209"/>
                        <a:pt x="473" y="10104"/>
                        <a:pt x="709" y="0"/>
                      </a:cubicBezTo>
                      <a:close/>
                    </a:path>
                  </a:pathLst>
                </a:custGeom>
                <a:solidFill>
                  <a:srgbClr val="40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</p:grpSp>
        </p:grpSp>
      </p:grpSp>
      <p:grpSp>
        <p:nvGrpSpPr>
          <p:cNvPr id="231" name="Gruppieren 230"/>
          <p:cNvGrpSpPr/>
          <p:nvPr/>
        </p:nvGrpSpPr>
        <p:grpSpPr>
          <a:xfrm>
            <a:off x="9243042" y="4124069"/>
            <a:ext cx="3314573" cy="3792016"/>
            <a:chOff x="3933748" y="3080393"/>
            <a:chExt cx="3940630" cy="4508253"/>
          </a:xfrm>
        </p:grpSpPr>
        <p:sp>
          <p:nvSpPr>
            <p:cNvPr id="232" name="Freeform 29"/>
            <p:cNvSpPr>
              <a:spLocks/>
            </p:cNvSpPr>
            <p:nvPr/>
          </p:nvSpPr>
          <p:spPr bwMode="auto">
            <a:xfrm rot="19416552">
              <a:off x="5676854" y="5320020"/>
              <a:ext cx="1341386" cy="294927"/>
            </a:xfrm>
            <a:custGeom>
              <a:avLst/>
              <a:gdLst>
                <a:gd name="T0" fmla="*/ 0 w 924"/>
                <a:gd name="T1" fmla="*/ 208 h 352"/>
                <a:gd name="T2" fmla="*/ 924 w 924"/>
                <a:gd name="T3" fmla="*/ 208 h 352"/>
                <a:gd name="T4" fmla="*/ 0 w 924"/>
                <a:gd name="T5" fmla="*/ 208 h 352"/>
                <a:gd name="connsiteX0" fmla="*/ 0 w 10068"/>
                <a:gd name="connsiteY0" fmla="*/ 2599 h 4426"/>
                <a:gd name="connsiteX1" fmla="*/ 10068 w 10068"/>
                <a:gd name="connsiteY1" fmla="*/ 2636 h 4426"/>
                <a:gd name="connsiteX2" fmla="*/ 0 w 10068"/>
                <a:gd name="connsiteY2" fmla="*/ 2599 h 4426"/>
                <a:gd name="connsiteX0" fmla="*/ 0 w 9921"/>
                <a:gd name="connsiteY0" fmla="*/ 5757 h 9928"/>
                <a:gd name="connsiteX1" fmla="*/ 9921 w 9921"/>
                <a:gd name="connsiteY1" fmla="*/ 5997 h 9928"/>
                <a:gd name="connsiteX2" fmla="*/ 0 w 9921"/>
                <a:gd name="connsiteY2" fmla="*/ 5757 h 9928"/>
                <a:gd name="connsiteX0" fmla="*/ 0 w 9973"/>
                <a:gd name="connsiteY0" fmla="*/ 6183 h 10249"/>
                <a:gd name="connsiteX1" fmla="*/ 9973 w 9973"/>
                <a:gd name="connsiteY1" fmla="*/ 5905 h 10249"/>
                <a:gd name="connsiteX2" fmla="*/ 0 w 9973"/>
                <a:gd name="connsiteY2" fmla="*/ 6183 h 10249"/>
                <a:gd name="connsiteX0" fmla="*/ 0 w 8192"/>
                <a:gd name="connsiteY0" fmla="*/ 4104 h 8885"/>
                <a:gd name="connsiteX1" fmla="*/ 8192 w 8192"/>
                <a:gd name="connsiteY1" fmla="*/ 6538 h 8885"/>
                <a:gd name="connsiteX2" fmla="*/ 0 w 8192"/>
                <a:gd name="connsiteY2" fmla="*/ 4104 h 8885"/>
                <a:gd name="connsiteX0" fmla="*/ 0 w 10082"/>
                <a:gd name="connsiteY0" fmla="*/ 4552 h 9969"/>
                <a:gd name="connsiteX1" fmla="*/ 10082 w 10082"/>
                <a:gd name="connsiteY1" fmla="*/ 7390 h 9969"/>
                <a:gd name="connsiteX2" fmla="*/ 0 w 10082"/>
                <a:gd name="connsiteY2" fmla="*/ 4552 h 9969"/>
                <a:gd name="connsiteX0" fmla="*/ 0 w 10000"/>
                <a:gd name="connsiteY0" fmla="*/ 731 h 6165"/>
                <a:gd name="connsiteX1" fmla="*/ 10000 w 10000"/>
                <a:gd name="connsiteY1" fmla="*/ 3578 h 6165"/>
                <a:gd name="connsiteX2" fmla="*/ 0 w 10000"/>
                <a:gd name="connsiteY2" fmla="*/ 731 h 6165"/>
                <a:gd name="connsiteX0" fmla="*/ 0 w 10000"/>
                <a:gd name="connsiteY0" fmla="*/ 1185 h 5947"/>
                <a:gd name="connsiteX1" fmla="*/ 10000 w 10000"/>
                <a:gd name="connsiteY1" fmla="*/ 5803 h 5947"/>
                <a:gd name="connsiteX2" fmla="*/ 0 w 10000"/>
                <a:gd name="connsiteY2" fmla="*/ 1185 h 5947"/>
                <a:gd name="connsiteX0" fmla="*/ 0 w 16753"/>
                <a:gd name="connsiteY0" fmla="*/ 10 h 14790"/>
                <a:gd name="connsiteX1" fmla="*/ 16753 w 16753"/>
                <a:gd name="connsiteY1" fmla="*/ 14790 h 14790"/>
                <a:gd name="connsiteX2" fmla="*/ 0 w 16753"/>
                <a:gd name="connsiteY2" fmla="*/ 10 h 14790"/>
                <a:gd name="connsiteX0" fmla="*/ 0 w 16753"/>
                <a:gd name="connsiteY0" fmla="*/ 25898 h 40678"/>
                <a:gd name="connsiteX1" fmla="*/ 16753 w 16753"/>
                <a:gd name="connsiteY1" fmla="*/ 40678 h 40678"/>
                <a:gd name="connsiteX2" fmla="*/ 0 w 16753"/>
                <a:gd name="connsiteY2" fmla="*/ 25898 h 40678"/>
                <a:gd name="connsiteX0" fmla="*/ 0 w 16940"/>
                <a:gd name="connsiteY0" fmla="*/ 25792 h 40729"/>
                <a:gd name="connsiteX1" fmla="*/ 16940 w 16940"/>
                <a:gd name="connsiteY1" fmla="*/ 40729 h 40729"/>
                <a:gd name="connsiteX2" fmla="*/ 0 w 16940"/>
                <a:gd name="connsiteY2" fmla="*/ 25792 h 40729"/>
                <a:gd name="connsiteX0" fmla="*/ 0 w 16767"/>
                <a:gd name="connsiteY0" fmla="*/ 27723 h 39837"/>
                <a:gd name="connsiteX1" fmla="*/ 16767 w 16767"/>
                <a:gd name="connsiteY1" fmla="*/ 39837 h 39837"/>
                <a:gd name="connsiteX2" fmla="*/ 0 w 16767"/>
                <a:gd name="connsiteY2" fmla="*/ 27723 h 39837"/>
                <a:gd name="connsiteX0" fmla="*/ 0 w 29127"/>
                <a:gd name="connsiteY0" fmla="*/ 50339 h 52539"/>
                <a:gd name="connsiteX1" fmla="*/ 29127 w 29127"/>
                <a:gd name="connsiteY1" fmla="*/ 32243 h 52539"/>
                <a:gd name="connsiteX2" fmla="*/ 0 w 29127"/>
                <a:gd name="connsiteY2" fmla="*/ 50339 h 52539"/>
                <a:gd name="connsiteX0" fmla="*/ 0 w 29127"/>
                <a:gd name="connsiteY0" fmla="*/ 33863 h 36063"/>
                <a:gd name="connsiteX1" fmla="*/ 29127 w 29127"/>
                <a:gd name="connsiteY1" fmla="*/ 15767 h 36063"/>
                <a:gd name="connsiteX2" fmla="*/ 0 w 29127"/>
                <a:gd name="connsiteY2" fmla="*/ 33863 h 36063"/>
                <a:gd name="connsiteX0" fmla="*/ 0 w 29127"/>
                <a:gd name="connsiteY0" fmla="*/ 33863 h 49920"/>
                <a:gd name="connsiteX1" fmla="*/ 29127 w 29127"/>
                <a:gd name="connsiteY1" fmla="*/ 15767 h 49920"/>
                <a:gd name="connsiteX2" fmla="*/ 0 w 29127"/>
                <a:gd name="connsiteY2" fmla="*/ 33863 h 49920"/>
                <a:gd name="connsiteX0" fmla="*/ 0 w 32533"/>
                <a:gd name="connsiteY0" fmla="*/ 24313 h 42676"/>
                <a:gd name="connsiteX1" fmla="*/ 32533 w 32533"/>
                <a:gd name="connsiteY1" fmla="*/ 18065 h 42676"/>
                <a:gd name="connsiteX2" fmla="*/ 0 w 32533"/>
                <a:gd name="connsiteY2" fmla="*/ 24313 h 42676"/>
                <a:gd name="connsiteX0" fmla="*/ 0 w 32137"/>
                <a:gd name="connsiteY0" fmla="*/ 22741 h 41567"/>
                <a:gd name="connsiteX1" fmla="*/ 32137 w 32137"/>
                <a:gd name="connsiteY1" fmla="*/ 18526 h 41567"/>
                <a:gd name="connsiteX2" fmla="*/ 0 w 32137"/>
                <a:gd name="connsiteY2" fmla="*/ 22741 h 41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137" h="41567">
                  <a:moveTo>
                    <a:pt x="0" y="22741"/>
                  </a:moveTo>
                  <a:cubicBezTo>
                    <a:pt x="0" y="22741"/>
                    <a:pt x="11721" y="-25489"/>
                    <a:pt x="32137" y="18526"/>
                  </a:cubicBezTo>
                  <a:cubicBezTo>
                    <a:pt x="32137" y="18526"/>
                    <a:pt x="11406" y="67434"/>
                    <a:pt x="0" y="22741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233" name="Gruppieren 232"/>
            <p:cNvGrpSpPr/>
            <p:nvPr/>
          </p:nvGrpSpPr>
          <p:grpSpPr>
            <a:xfrm>
              <a:off x="3933748" y="3080393"/>
              <a:ext cx="3357788" cy="3201636"/>
              <a:chOff x="3933748" y="3080393"/>
              <a:chExt cx="3357788" cy="3201636"/>
            </a:xfrm>
          </p:grpSpPr>
          <p:sp>
            <p:nvSpPr>
              <p:cNvPr id="235" name="Freeform 29"/>
              <p:cNvSpPr>
                <a:spLocks/>
              </p:cNvSpPr>
              <p:nvPr/>
            </p:nvSpPr>
            <p:spPr bwMode="auto">
              <a:xfrm rot="19416552">
                <a:off x="5560177" y="5050315"/>
                <a:ext cx="1215750" cy="354192"/>
              </a:xfrm>
              <a:custGeom>
                <a:avLst/>
                <a:gdLst>
                  <a:gd name="T0" fmla="*/ 0 w 924"/>
                  <a:gd name="T1" fmla="*/ 208 h 352"/>
                  <a:gd name="T2" fmla="*/ 924 w 924"/>
                  <a:gd name="T3" fmla="*/ 208 h 352"/>
                  <a:gd name="T4" fmla="*/ 0 w 924"/>
                  <a:gd name="T5" fmla="*/ 208 h 352"/>
                  <a:gd name="connsiteX0" fmla="*/ 0 w 10068"/>
                  <a:gd name="connsiteY0" fmla="*/ 2599 h 4426"/>
                  <a:gd name="connsiteX1" fmla="*/ 10068 w 10068"/>
                  <a:gd name="connsiteY1" fmla="*/ 2636 h 4426"/>
                  <a:gd name="connsiteX2" fmla="*/ 0 w 10068"/>
                  <a:gd name="connsiteY2" fmla="*/ 2599 h 4426"/>
                  <a:gd name="connsiteX0" fmla="*/ 0 w 9921"/>
                  <a:gd name="connsiteY0" fmla="*/ 5757 h 9928"/>
                  <a:gd name="connsiteX1" fmla="*/ 9921 w 9921"/>
                  <a:gd name="connsiteY1" fmla="*/ 5997 h 9928"/>
                  <a:gd name="connsiteX2" fmla="*/ 0 w 9921"/>
                  <a:gd name="connsiteY2" fmla="*/ 5757 h 9928"/>
                  <a:gd name="connsiteX0" fmla="*/ 0 w 9973"/>
                  <a:gd name="connsiteY0" fmla="*/ 6183 h 10249"/>
                  <a:gd name="connsiteX1" fmla="*/ 9973 w 9973"/>
                  <a:gd name="connsiteY1" fmla="*/ 5905 h 10249"/>
                  <a:gd name="connsiteX2" fmla="*/ 0 w 9973"/>
                  <a:gd name="connsiteY2" fmla="*/ 6183 h 10249"/>
                  <a:gd name="connsiteX0" fmla="*/ 0 w 8192"/>
                  <a:gd name="connsiteY0" fmla="*/ 4104 h 8885"/>
                  <a:gd name="connsiteX1" fmla="*/ 8192 w 8192"/>
                  <a:gd name="connsiteY1" fmla="*/ 6538 h 8885"/>
                  <a:gd name="connsiteX2" fmla="*/ 0 w 8192"/>
                  <a:gd name="connsiteY2" fmla="*/ 4104 h 8885"/>
                  <a:gd name="connsiteX0" fmla="*/ 0 w 10082"/>
                  <a:gd name="connsiteY0" fmla="*/ 4552 h 9969"/>
                  <a:gd name="connsiteX1" fmla="*/ 10082 w 10082"/>
                  <a:gd name="connsiteY1" fmla="*/ 7390 h 9969"/>
                  <a:gd name="connsiteX2" fmla="*/ 0 w 10082"/>
                  <a:gd name="connsiteY2" fmla="*/ 4552 h 9969"/>
                  <a:gd name="connsiteX0" fmla="*/ 0 w 10000"/>
                  <a:gd name="connsiteY0" fmla="*/ 731 h 6165"/>
                  <a:gd name="connsiteX1" fmla="*/ 10000 w 10000"/>
                  <a:gd name="connsiteY1" fmla="*/ 3578 h 6165"/>
                  <a:gd name="connsiteX2" fmla="*/ 0 w 10000"/>
                  <a:gd name="connsiteY2" fmla="*/ 731 h 6165"/>
                  <a:gd name="connsiteX0" fmla="*/ 0 w 10000"/>
                  <a:gd name="connsiteY0" fmla="*/ 1185 h 5947"/>
                  <a:gd name="connsiteX1" fmla="*/ 10000 w 10000"/>
                  <a:gd name="connsiteY1" fmla="*/ 5803 h 5947"/>
                  <a:gd name="connsiteX2" fmla="*/ 0 w 10000"/>
                  <a:gd name="connsiteY2" fmla="*/ 1185 h 5947"/>
                  <a:gd name="connsiteX0" fmla="*/ 0 w 16753"/>
                  <a:gd name="connsiteY0" fmla="*/ 10 h 14790"/>
                  <a:gd name="connsiteX1" fmla="*/ 16753 w 16753"/>
                  <a:gd name="connsiteY1" fmla="*/ 14790 h 14790"/>
                  <a:gd name="connsiteX2" fmla="*/ 0 w 16753"/>
                  <a:gd name="connsiteY2" fmla="*/ 10 h 14790"/>
                  <a:gd name="connsiteX0" fmla="*/ 0 w 16753"/>
                  <a:gd name="connsiteY0" fmla="*/ 25898 h 40678"/>
                  <a:gd name="connsiteX1" fmla="*/ 16753 w 16753"/>
                  <a:gd name="connsiteY1" fmla="*/ 40678 h 40678"/>
                  <a:gd name="connsiteX2" fmla="*/ 0 w 16753"/>
                  <a:gd name="connsiteY2" fmla="*/ 25898 h 40678"/>
                  <a:gd name="connsiteX0" fmla="*/ 0 w 16940"/>
                  <a:gd name="connsiteY0" fmla="*/ 25792 h 40729"/>
                  <a:gd name="connsiteX1" fmla="*/ 16940 w 16940"/>
                  <a:gd name="connsiteY1" fmla="*/ 40729 h 40729"/>
                  <a:gd name="connsiteX2" fmla="*/ 0 w 16940"/>
                  <a:gd name="connsiteY2" fmla="*/ 25792 h 40729"/>
                  <a:gd name="connsiteX0" fmla="*/ 0 w 16767"/>
                  <a:gd name="connsiteY0" fmla="*/ 27723 h 39837"/>
                  <a:gd name="connsiteX1" fmla="*/ 16767 w 16767"/>
                  <a:gd name="connsiteY1" fmla="*/ 39837 h 39837"/>
                  <a:gd name="connsiteX2" fmla="*/ 0 w 16767"/>
                  <a:gd name="connsiteY2" fmla="*/ 27723 h 39837"/>
                  <a:gd name="connsiteX0" fmla="*/ 0 w 29127"/>
                  <a:gd name="connsiteY0" fmla="*/ 50339 h 52539"/>
                  <a:gd name="connsiteX1" fmla="*/ 29127 w 29127"/>
                  <a:gd name="connsiteY1" fmla="*/ 32243 h 52539"/>
                  <a:gd name="connsiteX2" fmla="*/ 0 w 29127"/>
                  <a:gd name="connsiteY2" fmla="*/ 50339 h 52539"/>
                  <a:gd name="connsiteX0" fmla="*/ 0 w 29127"/>
                  <a:gd name="connsiteY0" fmla="*/ 33863 h 36063"/>
                  <a:gd name="connsiteX1" fmla="*/ 29127 w 29127"/>
                  <a:gd name="connsiteY1" fmla="*/ 15767 h 36063"/>
                  <a:gd name="connsiteX2" fmla="*/ 0 w 29127"/>
                  <a:gd name="connsiteY2" fmla="*/ 33863 h 36063"/>
                  <a:gd name="connsiteX0" fmla="*/ 0 w 29127"/>
                  <a:gd name="connsiteY0" fmla="*/ 33863 h 49920"/>
                  <a:gd name="connsiteX1" fmla="*/ 29127 w 29127"/>
                  <a:gd name="connsiteY1" fmla="*/ 15767 h 49920"/>
                  <a:gd name="connsiteX2" fmla="*/ 0 w 29127"/>
                  <a:gd name="connsiteY2" fmla="*/ 33863 h 49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127" h="49920">
                    <a:moveTo>
                      <a:pt x="0" y="33863"/>
                    </a:moveTo>
                    <a:cubicBezTo>
                      <a:pt x="0" y="33863"/>
                      <a:pt x="8711" y="-28248"/>
                      <a:pt x="29127" y="15767"/>
                    </a:cubicBezTo>
                    <a:cubicBezTo>
                      <a:pt x="29127" y="15767"/>
                      <a:pt x="11406" y="78556"/>
                      <a:pt x="0" y="33863"/>
                    </a:cubicBezTo>
                    <a:close/>
                  </a:path>
                </a:pathLst>
              </a:custGeom>
              <a:solidFill>
                <a:srgbClr val="F9F9F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236" name="Gruppieren 235"/>
              <p:cNvGrpSpPr/>
              <p:nvPr/>
            </p:nvGrpSpPr>
            <p:grpSpPr>
              <a:xfrm rot="20423516" flipH="1">
                <a:off x="4563651" y="3104240"/>
                <a:ext cx="2094632" cy="3032159"/>
                <a:chOff x="-5614988" y="1004888"/>
                <a:chExt cx="4043363" cy="5853112"/>
              </a:xfrm>
            </p:grpSpPr>
            <p:sp>
              <p:nvSpPr>
                <p:cNvPr id="251" name="Freeform 16"/>
                <p:cNvSpPr>
                  <a:spLocks/>
                </p:cNvSpPr>
                <p:nvPr/>
              </p:nvSpPr>
              <p:spPr bwMode="auto">
                <a:xfrm>
                  <a:off x="-5614988" y="1004888"/>
                  <a:ext cx="4043363" cy="5853112"/>
                </a:xfrm>
                <a:custGeom>
                  <a:avLst/>
                  <a:gdLst>
                    <a:gd name="T0" fmla="*/ 1077 w 1078"/>
                    <a:gd name="T1" fmla="*/ 204 h 1561"/>
                    <a:gd name="T2" fmla="*/ 1075 w 1078"/>
                    <a:gd name="T3" fmla="*/ 191 h 1561"/>
                    <a:gd name="T4" fmla="*/ 1078 w 1078"/>
                    <a:gd name="T5" fmla="*/ 187 h 1561"/>
                    <a:gd name="T6" fmla="*/ 1078 w 1078"/>
                    <a:gd name="T7" fmla="*/ 0 h 1561"/>
                    <a:gd name="T8" fmla="*/ 663 w 1078"/>
                    <a:gd name="T9" fmla="*/ 266 h 1561"/>
                    <a:gd name="T10" fmla="*/ 555 w 1078"/>
                    <a:gd name="T11" fmla="*/ 394 h 1561"/>
                    <a:gd name="T12" fmla="*/ 581 w 1078"/>
                    <a:gd name="T13" fmla="*/ 282 h 1561"/>
                    <a:gd name="T14" fmla="*/ 631 w 1078"/>
                    <a:gd name="T15" fmla="*/ 204 h 1561"/>
                    <a:gd name="T16" fmla="*/ 635 w 1078"/>
                    <a:gd name="T17" fmla="*/ 74 h 1561"/>
                    <a:gd name="T18" fmla="*/ 592 w 1078"/>
                    <a:gd name="T19" fmla="*/ 48 h 1561"/>
                    <a:gd name="T20" fmla="*/ 532 w 1078"/>
                    <a:gd name="T21" fmla="*/ 135 h 1561"/>
                    <a:gd name="T22" fmla="*/ 479 w 1078"/>
                    <a:gd name="T23" fmla="*/ 194 h 1561"/>
                    <a:gd name="T24" fmla="*/ 387 w 1078"/>
                    <a:gd name="T25" fmla="*/ 406 h 1561"/>
                    <a:gd name="T26" fmla="*/ 304 w 1078"/>
                    <a:gd name="T27" fmla="*/ 830 h 1561"/>
                    <a:gd name="T28" fmla="*/ 255 w 1078"/>
                    <a:gd name="T29" fmla="*/ 936 h 1561"/>
                    <a:gd name="T30" fmla="*/ 0 w 1078"/>
                    <a:gd name="T31" fmla="*/ 1376 h 1561"/>
                    <a:gd name="T32" fmla="*/ 507 w 1078"/>
                    <a:gd name="T33" fmla="*/ 1561 h 1561"/>
                    <a:gd name="T34" fmla="*/ 516 w 1078"/>
                    <a:gd name="T35" fmla="*/ 1561 h 1561"/>
                    <a:gd name="T36" fmla="*/ 654 w 1078"/>
                    <a:gd name="T37" fmla="*/ 1123 h 1561"/>
                    <a:gd name="T38" fmla="*/ 752 w 1078"/>
                    <a:gd name="T39" fmla="*/ 1015 h 1561"/>
                    <a:gd name="T40" fmla="*/ 984 w 1078"/>
                    <a:gd name="T41" fmla="*/ 747 h 1561"/>
                    <a:gd name="T42" fmla="*/ 1078 w 1078"/>
                    <a:gd name="T43" fmla="*/ 644 h 1561"/>
                    <a:gd name="T44" fmla="*/ 1078 w 1078"/>
                    <a:gd name="T45" fmla="*/ 202 h 1561"/>
                    <a:gd name="T46" fmla="*/ 1077 w 1078"/>
                    <a:gd name="T47" fmla="*/ 204 h 15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078" h="1561">
                      <a:moveTo>
                        <a:pt x="1077" y="204"/>
                      </a:moveTo>
                      <a:cubicBezTo>
                        <a:pt x="1075" y="191"/>
                        <a:pt x="1075" y="191"/>
                        <a:pt x="1075" y="191"/>
                      </a:cubicBezTo>
                      <a:cubicBezTo>
                        <a:pt x="1075" y="191"/>
                        <a:pt x="1076" y="190"/>
                        <a:pt x="1078" y="187"/>
                      </a:cubicBezTo>
                      <a:cubicBezTo>
                        <a:pt x="1078" y="0"/>
                        <a:pt x="1078" y="0"/>
                        <a:pt x="1078" y="0"/>
                      </a:cubicBezTo>
                      <a:cubicBezTo>
                        <a:pt x="663" y="266"/>
                        <a:pt x="663" y="266"/>
                        <a:pt x="663" y="266"/>
                      </a:cubicBezTo>
                      <a:cubicBezTo>
                        <a:pt x="663" y="266"/>
                        <a:pt x="591" y="319"/>
                        <a:pt x="555" y="394"/>
                      </a:cubicBezTo>
                      <a:cubicBezTo>
                        <a:pt x="555" y="394"/>
                        <a:pt x="581" y="308"/>
                        <a:pt x="581" y="282"/>
                      </a:cubicBezTo>
                      <a:cubicBezTo>
                        <a:pt x="581" y="282"/>
                        <a:pt x="607" y="290"/>
                        <a:pt x="631" y="204"/>
                      </a:cubicBezTo>
                      <a:cubicBezTo>
                        <a:pt x="635" y="74"/>
                        <a:pt x="635" y="74"/>
                        <a:pt x="635" y="74"/>
                      </a:cubicBezTo>
                      <a:cubicBezTo>
                        <a:pt x="635" y="74"/>
                        <a:pt x="611" y="40"/>
                        <a:pt x="592" y="48"/>
                      </a:cubicBezTo>
                      <a:cubicBezTo>
                        <a:pt x="592" y="48"/>
                        <a:pt x="560" y="78"/>
                        <a:pt x="532" y="135"/>
                      </a:cubicBezTo>
                      <a:cubicBezTo>
                        <a:pt x="532" y="135"/>
                        <a:pt x="485" y="195"/>
                        <a:pt x="479" y="194"/>
                      </a:cubicBezTo>
                      <a:cubicBezTo>
                        <a:pt x="479" y="194"/>
                        <a:pt x="420" y="254"/>
                        <a:pt x="387" y="406"/>
                      </a:cubicBezTo>
                      <a:cubicBezTo>
                        <a:pt x="387" y="406"/>
                        <a:pt x="299" y="586"/>
                        <a:pt x="304" y="830"/>
                      </a:cubicBezTo>
                      <a:cubicBezTo>
                        <a:pt x="304" y="830"/>
                        <a:pt x="297" y="878"/>
                        <a:pt x="255" y="936"/>
                      </a:cubicBezTo>
                      <a:cubicBezTo>
                        <a:pt x="0" y="1376"/>
                        <a:pt x="0" y="1376"/>
                        <a:pt x="0" y="1376"/>
                      </a:cubicBezTo>
                      <a:cubicBezTo>
                        <a:pt x="507" y="1561"/>
                        <a:pt x="507" y="1561"/>
                        <a:pt x="507" y="1561"/>
                      </a:cubicBezTo>
                      <a:cubicBezTo>
                        <a:pt x="516" y="1561"/>
                        <a:pt x="516" y="1561"/>
                        <a:pt x="516" y="1561"/>
                      </a:cubicBezTo>
                      <a:cubicBezTo>
                        <a:pt x="516" y="1561"/>
                        <a:pt x="618" y="1185"/>
                        <a:pt x="654" y="1123"/>
                      </a:cubicBezTo>
                      <a:cubicBezTo>
                        <a:pt x="654" y="1123"/>
                        <a:pt x="712" y="1049"/>
                        <a:pt x="752" y="1015"/>
                      </a:cubicBezTo>
                      <a:cubicBezTo>
                        <a:pt x="752" y="1015"/>
                        <a:pt x="906" y="909"/>
                        <a:pt x="984" y="747"/>
                      </a:cubicBezTo>
                      <a:cubicBezTo>
                        <a:pt x="984" y="747"/>
                        <a:pt x="1021" y="675"/>
                        <a:pt x="1078" y="644"/>
                      </a:cubicBezTo>
                      <a:cubicBezTo>
                        <a:pt x="1078" y="202"/>
                        <a:pt x="1078" y="202"/>
                        <a:pt x="1078" y="202"/>
                      </a:cubicBezTo>
                      <a:cubicBezTo>
                        <a:pt x="1078" y="203"/>
                        <a:pt x="1077" y="204"/>
                        <a:pt x="1077" y="204"/>
                      </a:cubicBezTo>
                      <a:close/>
                    </a:path>
                  </a:pathLst>
                </a:custGeom>
                <a:solidFill>
                  <a:srgbClr val="F8C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7"/>
                <p:cNvSpPr>
                  <a:spLocks/>
                </p:cNvSpPr>
                <p:nvPr/>
              </p:nvSpPr>
              <p:spPr bwMode="auto">
                <a:xfrm>
                  <a:off x="-3582988" y="2947988"/>
                  <a:ext cx="1279525" cy="1371600"/>
                </a:xfrm>
                <a:custGeom>
                  <a:avLst/>
                  <a:gdLst>
                    <a:gd name="T0" fmla="*/ 28 w 341"/>
                    <a:gd name="T1" fmla="*/ 10 h 366"/>
                    <a:gd name="T2" fmla="*/ 0 w 341"/>
                    <a:gd name="T3" fmla="*/ 366 h 366"/>
                    <a:gd name="T4" fmla="*/ 150 w 341"/>
                    <a:gd name="T5" fmla="*/ 283 h 366"/>
                    <a:gd name="T6" fmla="*/ 341 w 341"/>
                    <a:gd name="T7" fmla="*/ 198 h 366"/>
                    <a:gd name="T8" fmla="*/ 153 w 341"/>
                    <a:gd name="T9" fmla="*/ 122 h 366"/>
                    <a:gd name="T10" fmla="*/ 28 w 341"/>
                    <a:gd name="T11" fmla="*/ 10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41" h="366">
                      <a:moveTo>
                        <a:pt x="28" y="10"/>
                      </a:moveTo>
                      <a:cubicBezTo>
                        <a:pt x="28" y="10"/>
                        <a:pt x="93" y="248"/>
                        <a:pt x="0" y="366"/>
                      </a:cubicBezTo>
                      <a:cubicBezTo>
                        <a:pt x="0" y="366"/>
                        <a:pt x="100" y="280"/>
                        <a:pt x="150" y="283"/>
                      </a:cubicBezTo>
                      <a:cubicBezTo>
                        <a:pt x="150" y="283"/>
                        <a:pt x="336" y="260"/>
                        <a:pt x="341" y="198"/>
                      </a:cubicBezTo>
                      <a:cubicBezTo>
                        <a:pt x="341" y="198"/>
                        <a:pt x="184" y="184"/>
                        <a:pt x="153" y="122"/>
                      </a:cubicBezTo>
                      <a:cubicBezTo>
                        <a:pt x="153" y="122"/>
                        <a:pt x="78" y="0"/>
                        <a:pt x="28" y="10"/>
                      </a:cubicBezTo>
                      <a:close/>
                    </a:path>
                  </a:pathLst>
                </a:custGeom>
                <a:solidFill>
                  <a:srgbClr val="F0A86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8"/>
                <p:cNvSpPr>
                  <a:spLocks/>
                </p:cNvSpPr>
                <p:nvPr/>
              </p:nvSpPr>
              <p:spPr bwMode="auto">
                <a:xfrm>
                  <a:off x="-3586163" y="5013325"/>
                  <a:ext cx="415925" cy="657225"/>
                </a:xfrm>
                <a:custGeom>
                  <a:avLst/>
                  <a:gdLst>
                    <a:gd name="T0" fmla="*/ 1 w 111"/>
                    <a:gd name="T1" fmla="*/ 5 h 175"/>
                    <a:gd name="T2" fmla="*/ 1 w 111"/>
                    <a:gd name="T3" fmla="*/ 6 h 175"/>
                    <a:gd name="T4" fmla="*/ 68 w 111"/>
                    <a:gd name="T5" fmla="*/ 175 h 175"/>
                    <a:gd name="T6" fmla="*/ 111 w 111"/>
                    <a:gd name="T7" fmla="*/ 57 h 175"/>
                    <a:gd name="T8" fmla="*/ 1 w 111"/>
                    <a:gd name="T9" fmla="*/ 0 h 175"/>
                    <a:gd name="T10" fmla="*/ 1 w 111"/>
                    <a:gd name="T11" fmla="*/ 5 h 1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1" h="175">
                      <a:moveTo>
                        <a:pt x="1" y="5"/>
                      </a:moveTo>
                      <a:cubicBezTo>
                        <a:pt x="1" y="5"/>
                        <a:pt x="1" y="5"/>
                        <a:pt x="1" y="6"/>
                      </a:cubicBezTo>
                      <a:cubicBezTo>
                        <a:pt x="5" y="19"/>
                        <a:pt x="89" y="130"/>
                        <a:pt x="68" y="175"/>
                      </a:cubicBezTo>
                      <a:cubicBezTo>
                        <a:pt x="68" y="175"/>
                        <a:pt x="91" y="83"/>
                        <a:pt x="111" y="57"/>
                      </a:cubicBezTo>
                      <a:cubicBezTo>
                        <a:pt x="111" y="57"/>
                        <a:pt x="97" y="77"/>
                        <a:pt x="1" y="0"/>
                      </a:cubicBezTo>
                      <a:cubicBezTo>
                        <a:pt x="1" y="0"/>
                        <a:pt x="0" y="2"/>
                        <a:pt x="1" y="5"/>
                      </a:cubicBezTo>
                      <a:close/>
                    </a:path>
                  </a:pathLst>
                </a:custGeom>
                <a:solidFill>
                  <a:srgbClr val="F0A86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9"/>
                <p:cNvSpPr>
                  <a:spLocks/>
                </p:cNvSpPr>
                <p:nvPr/>
              </p:nvSpPr>
              <p:spPr bwMode="auto">
                <a:xfrm>
                  <a:off x="-3619500" y="1189038"/>
                  <a:ext cx="250825" cy="352425"/>
                </a:xfrm>
                <a:custGeom>
                  <a:avLst/>
                  <a:gdLst>
                    <a:gd name="T0" fmla="*/ 64 w 67"/>
                    <a:gd name="T1" fmla="*/ 22 h 94"/>
                    <a:gd name="T2" fmla="*/ 11 w 67"/>
                    <a:gd name="T3" fmla="*/ 94 h 94"/>
                    <a:gd name="T4" fmla="*/ 0 w 67"/>
                    <a:gd name="T5" fmla="*/ 90 h 94"/>
                    <a:gd name="T6" fmla="*/ 59 w 67"/>
                    <a:gd name="T7" fmla="*/ 0 h 94"/>
                    <a:gd name="T8" fmla="*/ 64 w 67"/>
                    <a:gd name="T9" fmla="*/ 22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94">
                      <a:moveTo>
                        <a:pt x="64" y="22"/>
                      </a:moveTo>
                      <a:cubicBezTo>
                        <a:pt x="64" y="22"/>
                        <a:pt x="14" y="85"/>
                        <a:pt x="11" y="94"/>
                      </a:cubicBezTo>
                      <a:cubicBezTo>
                        <a:pt x="11" y="94"/>
                        <a:pt x="0" y="93"/>
                        <a:pt x="0" y="90"/>
                      </a:cubicBezTo>
                      <a:cubicBezTo>
                        <a:pt x="0" y="90"/>
                        <a:pt x="25" y="29"/>
                        <a:pt x="59" y="0"/>
                      </a:cubicBezTo>
                      <a:cubicBezTo>
                        <a:pt x="59" y="0"/>
                        <a:pt x="67" y="8"/>
                        <a:pt x="64" y="22"/>
                      </a:cubicBezTo>
                      <a:close/>
                    </a:path>
                  </a:pathLst>
                </a:custGeom>
                <a:solidFill>
                  <a:srgbClr val="F9C99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237" name="Gruppieren 236"/>
              <p:cNvGrpSpPr/>
              <p:nvPr/>
            </p:nvGrpSpPr>
            <p:grpSpPr>
              <a:xfrm>
                <a:off x="3933748" y="3080393"/>
                <a:ext cx="1218562" cy="1681816"/>
                <a:chOff x="3933748" y="3080393"/>
                <a:chExt cx="1218562" cy="1681816"/>
              </a:xfrm>
            </p:grpSpPr>
            <p:sp>
              <p:nvSpPr>
                <p:cNvPr id="241" name="Freeform 14"/>
                <p:cNvSpPr>
                  <a:spLocks/>
                </p:cNvSpPr>
                <p:nvPr/>
              </p:nvSpPr>
              <p:spPr bwMode="auto">
                <a:xfrm rot="20423516" flipH="1">
                  <a:off x="4203114" y="4056280"/>
                  <a:ext cx="134050" cy="281258"/>
                </a:xfrm>
                <a:custGeom>
                  <a:avLst/>
                  <a:gdLst>
                    <a:gd name="T0" fmla="*/ 0 w 163"/>
                    <a:gd name="T1" fmla="*/ 26 h 342"/>
                    <a:gd name="T2" fmla="*/ 144 w 163"/>
                    <a:gd name="T3" fmla="*/ 0 h 342"/>
                    <a:gd name="T4" fmla="*/ 163 w 163"/>
                    <a:gd name="T5" fmla="*/ 132 h 342"/>
                    <a:gd name="T6" fmla="*/ 12 w 163"/>
                    <a:gd name="T7" fmla="*/ 342 h 342"/>
                    <a:gd name="T8" fmla="*/ 0 w 163"/>
                    <a:gd name="T9" fmla="*/ 26 h 3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63" h="342">
                      <a:moveTo>
                        <a:pt x="0" y="26"/>
                      </a:moveTo>
                      <a:lnTo>
                        <a:pt x="144" y="0"/>
                      </a:lnTo>
                      <a:lnTo>
                        <a:pt x="163" y="132"/>
                      </a:lnTo>
                      <a:lnTo>
                        <a:pt x="12" y="342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solidFill>
                  <a:srgbClr val="F0A86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5"/>
                <p:cNvSpPr>
                  <a:spLocks/>
                </p:cNvSpPr>
                <p:nvPr/>
              </p:nvSpPr>
              <p:spPr bwMode="auto">
                <a:xfrm rot="20423516" flipH="1">
                  <a:off x="4357678" y="4411273"/>
                  <a:ext cx="111023" cy="281258"/>
                </a:xfrm>
                <a:custGeom>
                  <a:avLst/>
                  <a:gdLst>
                    <a:gd name="T0" fmla="*/ 2 w 57"/>
                    <a:gd name="T1" fmla="*/ 8 h 145"/>
                    <a:gd name="T2" fmla="*/ 37 w 57"/>
                    <a:gd name="T3" fmla="*/ 0 h 145"/>
                    <a:gd name="T4" fmla="*/ 57 w 57"/>
                    <a:gd name="T5" fmla="*/ 102 h 145"/>
                    <a:gd name="T6" fmla="*/ 2 w 57"/>
                    <a:gd name="T7" fmla="*/ 140 h 145"/>
                    <a:gd name="T8" fmla="*/ 2 w 57"/>
                    <a:gd name="T9" fmla="*/ 8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145">
                      <a:moveTo>
                        <a:pt x="2" y="8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57" y="102"/>
                        <a:pt x="57" y="102"/>
                        <a:pt x="57" y="102"/>
                      </a:cubicBezTo>
                      <a:cubicBezTo>
                        <a:pt x="57" y="102"/>
                        <a:pt x="0" y="145"/>
                        <a:pt x="2" y="140"/>
                      </a:cubicBezTo>
                      <a:cubicBezTo>
                        <a:pt x="4" y="136"/>
                        <a:pt x="2" y="8"/>
                        <a:pt x="2" y="8"/>
                      </a:cubicBezTo>
                      <a:close/>
                    </a:path>
                  </a:pathLst>
                </a:custGeom>
                <a:solidFill>
                  <a:srgbClr val="F0A86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grpSp>
              <p:nvGrpSpPr>
                <p:cNvPr id="243" name="Gruppieren 242"/>
                <p:cNvGrpSpPr/>
                <p:nvPr/>
              </p:nvGrpSpPr>
              <p:grpSpPr>
                <a:xfrm rot="20376591">
                  <a:off x="4232503" y="3080393"/>
                  <a:ext cx="919807" cy="1659311"/>
                  <a:chOff x="4930957" y="3107047"/>
                  <a:chExt cx="1166045" cy="2103519"/>
                </a:xfrm>
              </p:grpSpPr>
              <p:sp>
                <p:nvSpPr>
                  <p:cNvPr id="248" name="Freeform 29"/>
                  <p:cNvSpPr>
                    <a:spLocks/>
                  </p:cNvSpPr>
                  <p:nvPr/>
                </p:nvSpPr>
                <p:spPr bwMode="auto">
                  <a:xfrm flipH="1">
                    <a:off x="4930957" y="3107047"/>
                    <a:ext cx="1166045" cy="2103519"/>
                  </a:xfrm>
                  <a:custGeom>
                    <a:avLst/>
                    <a:gdLst>
                      <a:gd name="T0" fmla="*/ 11 w 149"/>
                      <a:gd name="T1" fmla="*/ 269 h 269"/>
                      <a:gd name="T2" fmla="*/ 0 w 149"/>
                      <a:gd name="T3" fmla="*/ 260 h 269"/>
                      <a:gd name="T4" fmla="*/ 0 w 149"/>
                      <a:gd name="T5" fmla="*/ 9 h 269"/>
                      <a:gd name="T6" fmla="*/ 11 w 149"/>
                      <a:gd name="T7" fmla="*/ 0 h 269"/>
                      <a:gd name="T8" fmla="*/ 137 w 149"/>
                      <a:gd name="T9" fmla="*/ 0 h 269"/>
                      <a:gd name="T10" fmla="*/ 149 w 149"/>
                      <a:gd name="T11" fmla="*/ 9 h 269"/>
                      <a:gd name="T12" fmla="*/ 149 w 149"/>
                      <a:gd name="T13" fmla="*/ 260 h 269"/>
                      <a:gd name="T14" fmla="*/ 137 w 149"/>
                      <a:gd name="T15" fmla="*/ 269 h 269"/>
                      <a:gd name="T16" fmla="*/ 11 w 149"/>
                      <a:gd name="T17" fmla="*/ 269 h 2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49" h="269">
                        <a:moveTo>
                          <a:pt x="11" y="269"/>
                        </a:moveTo>
                        <a:cubicBezTo>
                          <a:pt x="5" y="269"/>
                          <a:pt x="0" y="265"/>
                          <a:pt x="0" y="260"/>
                        </a:cubicBezTo>
                        <a:cubicBezTo>
                          <a:pt x="0" y="9"/>
                          <a:pt x="0" y="9"/>
                          <a:pt x="0" y="9"/>
                        </a:cubicBezTo>
                        <a:cubicBezTo>
                          <a:pt x="0" y="4"/>
                          <a:pt x="5" y="0"/>
                          <a:pt x="11" y="0"/>
                        </a:cubicBezTo>
                        <a:cubicBezTo>
                          <a:pt x="137" y="0"/>
                          <a:pt x="137" y="0"/>
                          <a:pt x="137" y="0"/>
                        </a:cubicBezTo>
                        <a:cubicBezTo>
                          <a:pt x="144" y="0"/>
                          <a:pt x="149" y="4"/>
                          <a:pt x="149" y="9"/>
                        </a:cubicBezTo>
                        <a:cubicBezTo>
                          <a:pt x="149" y="260"/>
                          <a:pt x="149" y="260"/>
                          <a:pt x="149" y="260"/>
                        </a:cubicBezTo>
                        <a:cubicBezTo>
                          <a:pt x="149" y="265"/>
                          <a:pt x="144" y="269"/>
                          <a:pt x="137" y="269"/>
                        </a:cubicBezTo>
                        <a:lnTo>
                          <a:pt x="11" y="269"/>
                        </a:lnTo>
                        <a:close/>
                      </a:path>
                    </a:pathLst>
                  </a:custGeom>
                  <a:solidFill>
                    <a:srgbClr val="40404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249" name="Rectangle 30"/>
                  <p:cNvSpPr>
                    <a:spLocks noChangeArrowheads="1"/>
                  </p:cNvSpPr>
                  <p:nvPr/>
                </p:nvSpPr>
                <p:spPr bwMode="auto">
                  <a:xfrm flipH="1">
                    <a:off x="5023710" y="3218841"/>
                    <a:ext cx="980538" cy="1765631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250" name="Oval 31"/>
                  <p:cNvSpPr>
                    <a:spLocks noChangeArrowheads="1"/>
                  </p:cNvSpPr>
                  <p:nvPr/>
                </p:nvSpPr>
                <p:spPr bwMode="auto">
                  <a:xfrm flipH="1">
                    <a:off x="5424540" y="5021746"/>
                    <a:ext cx="172257" cy="142444"/>
                  </a:xfrm>
                  <a:prstGeom prst="ellipse">
                    <a:avLst/>
                  </a:prstGeom>
                  <a:solidFill>
                    <a:srgbClr val="58585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  <p:sp>
              <p:nvSpPr>
                <p:cNvPr id="244" name="Freeform 20"/>
                <p:cNvSpPr>
                  <a:spLocks/>
                </p:cNvSpPr>
                <p:nvPr/>
              </p:nvSpPr>
              <p:spPr bwMode="auto">
                <a:xfrm rot="20423516" flipH="1">
                  <a:off x="4234954" y="4280287"/>
                  <a:ext cx="209711" cy="481922"/>
                </a:xfrm>
                <a:custGeom>
                  <a:avLst/>
                  <a:gdLst>
                    <a:gd name="T0" fmla="*/ 9 w 108"/>
                    <a:gd name="T1" fmla="*/ 248 h 248"/>
                    <a:gd name="T2" fmla="*/ 85 w 108"/>
                    <a:gd name="T3" fmla="*/ 125 h 248"/>
                    <a:gd name="T4" fmla="*/ 80 w 108"/>
                    <a:gd name="T5" fmla="*/ 60 h 248"/>
                    <a:gd name="T6" fmla="*/ 46 w 108"/>
                    <a:gd name="T7" fmla="*/ 10 h 248"/>
                    <a:gd name="T8" fmla="*/ 0 w 108"/>
                    <a:gd name="T9" fmla="*/ 58 h 248"/>
                    <a:gd name="T10" fmla="*/ 13 w 108"/>
                    <a:gd name="T11" fmla="*/ 92 h 248"/>
                    <a:gd name="T12" fmla="*/ 24 w 108"/>
                    <a:gd name="T13" fmla="*/ 136 h 248"/>
                    <a:gd name="T14" fmla="*/ 14 w 108"/>
                    <a:gd name="T15" fmla="*/ 198 h 248"/>
                    <a:gd name="T16" fmla="*/ 9 w 108"/>
                    <a:gd name="T17" fmla="*/ 200 h 248"/>
                    <a:gd name="T18" fmla="*/ 9 w 108"/>
                    <a:gd name="T19" fmla="*/ 248 h 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8" h="248">
                      <a:moveTo>
                        <a:pt x="9" y="248"/>
                      </a:moveTo>
                      <a:cubicBezTo>
                        <a:pt x="9" y="248"/>
                        <a:pt x="78" y="188"/>
                        <a:pt x="85" y="125"/>
                      </a:cubicBezTo>
                      <a:cubicBezTo>
                        <a:pt x="85" y="125"/>
                        <a:pt x="108" y="100"/>
                        <a:pt x="80" y="60"/>
                      </a:cubicBezTo>
                      <a:cubicBezTo>
                        <a:pt x="80" y="60"/>
                        <a:pt x="78" y="8"/>
                        <a:pt x="46" y="10"/>
                      </a:cubicBezTo>
                      <a:cubicBezTo>
                        <a:pt x="46" y="10"/>
                        <a:pt x="0" y="0"/>
                        <a:pt x="0" y="58"/>
                      </a:cubicBezTo>
                      <a:cubicBezTo>
                        <a:pt x="0" y="58"/>
                        <a:pt x="3" y="82"/>
                        <a:pt x="13" y="92"/>
                      </a:cubicBezTo>
                      <a:cubicBezTo>
                        <a:pt x="13" y="92"/>
                        <a:pt x="14" y="120"/>
                        <a:pt x="24" y="136"/>
                      </a:cubicBezTo>
                      <a:cubicBezTo>
                        <a:pt x="24" y="136"/>
                        <a:pt x="48" y="159"/>
                        <a:pt x="14" y="198"/>
                      </a:cubicBezTo>
                      <a:cubicBezTo>
                        <a:pt x="9" y="200"/>
                        <a:pt x="9" y="200"/>
                        <a:pt x="9" y="200"/>
                      </a:cubicBezTo>
                      <a:lnTo>
                        <a:pt x="9" y="248"/>
                      </a:lnTo>
                      <a:close/>
                    </a:path>
                  </a:pathLst>
                </a:custGeom>
                <a:solidFill>
                  <a:srgbClr val="F8C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21"/>
                <p:cNvSpPr>
                  <a:spLocks/>
                </p:cNvSpPr>
                <p:nvPr/>
              </p:nvSpPr>
              <p:spPr bwMode="auto">
                <a:xfrm rot="20423516" flipH="1">
                  <a:off x="4088472" y="3875590"/>
                  <a:ext cx="235205" cy="503304"/>
                </a:xfrm>
                <a:custGeom>
                  <a:avLst/>
                  <a:gdLst>
                    <a:gd name="T0" fmla="*/ 64 w 121"/>
                    <a:gd name="T1" fmla="*/ 6 h 259"/>
                    <a:gd name="T2" fmla="*/ 108 w 121"/>
                    <a:gd name="T3" fmla="*/ 48 h 259"/>
                    <a:gd name="T4" fmla="*/ 94 w 121"/>
                    <a:gd name="T5" fmla="*/ 150 h 259"/>
                    <a:gd name="T6" fmla="*/ 28 w 121"/>
                    <a:gd name="T7" fmla="*/ 248 h 259"/>
                    <a:gd name="T8" fmla="*/ 14 w 121"/>
                    <a:gd name="T9" fmla="*/ 259 h 259"/>
                    <a:gd name="T10" fmla="*/ 23 w 121"/>
                    <a:gd name="T11" fmla="*/ 242 h 259"/>
                    <a:gd name="T12" fmla="*/ 23 w 121"/>
                    <a:gd name="T13" fmla="*/ 227 h 259"/>
                    <a:gd name="T14" fmla="*/ 68 w 121"/>
                    <a:gd name="T15" fmla="*/ 152 h 259"/>
                    <a:gd name="T16" fmla="*/ 20 w 121"/>
                    <a:gd name="T17" fmla="*/ 31 h 259"/>
                    <a:gd name="T18" fmla="*/ 64 w 121"/>
                    <a:gd name="T19" fmla="*/ 6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1" h="259">
                      <a:moveTo>
                        <a:pt x="64" y="6"/>
                      </a:moveTo>
                      <a:cubicBezTo>
                        <a:pt x="64" y="6"/>
                        <a:pt x="113" y="0"/>
                        <a:pt x="108" y="48"/>
                      </a:cubicBezTo>
                      <a:cubicBezTo>
                        <a:pt x="108" y="48"/>
                        <a:pt x="121" y="113"/>
                        <a:pt x="94" y="150"/>
                      </a:cubicBezTo>
                      <a:cubicBezTo>
                        <a:pt x="94" y="150"/>
                        <a:pt x="55" y="220"/>
                        <a:pt x="28" y="248"/>
                      </a:cubicBezTo>
                      <a:cubicBezTo>
                        <a:pt x="23" y="253"/>
                        <a:pt x="18" y="257"/>
                        <a:pt x="14" y="259"/>
                      </a:cubicBezTo>
                      <a:cubicBezTo>
                        <a:pt x="23" y="242"/>
                        <a:pt x="23" y="242"/>
                        <a:pt x="23" y="242"/>
                      </a:cubicBezTo>
                      <a:cubicBezTo>
                        <a:pt x="23" y="227"/>
                        <a:pt x="23" y="227"/>
                        <a:pt x="23" y="227"/>
                      </a:cubicBezTo>
                      <a:cubicBezTo>
                        <a:pt x="23" y="227"/>
                        <a:pt x="64" y="174"/>
                        <a:pt x="68" y="152"/>
                      </a:cubicBezTo>
                      <a:cubicBezTo>
                        <a:pt x="68" y="152"/>
                        <a:pt x="0" y="139"/>
                        <a:pt x="20" y="31"/>
                      </a:cubicBezTo>
                      <a:cubicBezTo>
                        <a:pt x="20" y="31"/>
                        <a:pt x="27" y="5"/>
                        <a:pt x="64" y="6"/>
                      </a:cubicBezTo>
                      <a:close/>
                    </a:path>
                  </a:pathLst>
                </a:custGeom>
                <a:solidFill>
                  <a:srgbClr val="F8C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22"/>
                <p:cNvSpPr>
                  <a:spLocks/>
                </p:cNvSpPr>
                <p:nvPr/>
              </p:nvSpPr>
              <p:spPr bwMode="auto">
                <a:xfrm rot="20423516" flipH="1">
                  <a:off x="3933748" y="3509226"/>
                  <a:ext cx="189973" cy="415308"/>
                </a:xfrm>
                <a:custGeom>
                  <a:avLst/>
                  <a:gdLst>
                    <a:gd name="T0" fmla="*/ 0 w 98"/>
                    <a:gd name="T1" fmla="*/ 214 h 214"/>
                    <a:gd name="T2" fmla="*/ 86 w 98"/>
                    <a:gd name="T3" fmla="*/ 52 h 214"/>
                    <a:gd name="T4" fmla="*/ 1 w 98"/>
                    <a:gd name="T5" fmla="*/ 25 h 214"/>
                    <a:gd name="T6" fmla="*/ 0 w 98"/>
                    <a:gd name="T7" fmla="*/ 214 h 2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8" h="214">
                      <a:moveTo>
                        <a:pt x="0" y="214"/>
                      </a:moveTo>
                      <a:cubicBezTo>
                        <a:pt x="0" y="214"/>
                        <a:pt x="98" y="92"/>
                        <a:pt x="86" y="52"/>
                      </a:cubicBezTo>
                      <a:cubicBezTo>
                        <a:pt x="86" y="52"/>
                        <a:pt x="70" y="0"/>
                        <a:pt x="1" y="25"/>
                      </a:cubicBezTo>
                      <a:lnTo>
                        <a:pt x="0" y="214"/>
                      </a:lnTo>
                      <a:close/>
                    </a:path>
                  </a:pathLst>
                </a:custGeom>
                <a:solidFill>
                  <a:srgbClr val="F8C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23"/>
                <p:cNvSpPr>
                  <a:spLocks/>
                </p:cNvSpPr>
                <p:nvPr/>
              </p:nvSpPr>
              <p:spPr bwMode="auto">
                <a:xfrm rot="20423516" flipH="1">
                  <a:off x="4084237" y="3675250"/>
                  <a:ext cx="71548" cy="229447"/>
                </a:xfrm>
                <a:custGeom>
                  <a:avLst/>
                  <a:gdLst>
                    <a:gd name="T0" fmla="*/ 28 w 37"/>
                    <a:gd name="T1" fmla="*/ 69 h 118"/>
                    <a:gd name="T2" fmla="*/ 0 w 37"/>
                    <a:gd name="T3" fmla="*/ 0 h 118"/>
                    <a:gd name="T4" fmla="*/ 0 w 37"/>
                    <a:gd name="T5" fmla="*/ 118 h 118"/>
                    <a:gd name="T6" fmla="*/ 28 w 37"/>
                    <a:gd name="T7" fmla="*/ 69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7" h="118">
                      <a:moveTo>
                        <a:pt x="28" y="69"/>
                      </a:moveTo>
                      <a:cubicBezTo>
                        <a:pt x="28" y="69"/>
                        <a:pt x="3" y="23"/>
                        <a:pt x="0" y="0"/>
                      </a:cubicBezTo>
                      <a:cubicBezTo>
                        <a:pt x="0" y="118"/>
                        <a:pt x="0" y="118"/>
                        <a:pt x="0" y="118"/>
                      </a:cubicBezTo>
                      <a:cubicBezTo>
                        <a:pt x="0" y="118"/>
                        <a:pt x="37" y="72"/>
                        <a:pt x="28" y="69"/>
                      </a:cubicBezTo>
                      <a:close/>
                    </a:path>
                  </a:pathLst>
                </a:custGeom>
                <a:solidFill>
                  <a:srgbClr val="F0A86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238" name="Gruppieren 237"/>
              <p:cNvGrpSpPr/>
              <p:nvPr/>
            </p:nvGrpSpPr>
            <p:grpSpPr>
              <a:xfrm>
                <a:off x="5709998" y="4810937"/>
                <a:ext cx="1581538" cy="1471092"/>
                <a:chOff x="3133135" y="4393162"/>
                <a:chExt cx="839123" cy="780523"/>
              </a:xfrm>
            </p:grpSpPr>
            <p:sp>
              <p:nvSpPr>
                <p:cNvPr id="239" name="Freeform 12"/>
                <p:cNvSpPr>
                  <a:spLocks/>
                </p:cNvSpPr>
                <p:nvPr/>
              </p:nvSpPr>
              <p:spPr bwMode="auto">
                <a:xfrm flipH="1">
                  <a:off x="3133135" y="4393162"/>
                  <a:ext cx="839123" cy="780523"/>
                </a:xfrm>
                <a:custGeom>
                  <a:avLst/>
                  <a:gdLst>
                    <a:gd name="T0" fmla="*/ 33 w 170"/>
                    <a:gd name="T1" fmla="*/ 43 h 158"/>
                    <a:gd name="T2" fmla="*/ 72 w 170"/>
                    <a:gd name="T3" fmla="*/ 0 h 158"/>
                    <a:gd name="T4" fmla="*/ 76 w 170"/>
                    <a:gd name="T5" fmla="*/ 6 h 158"/>
                    <a:gd name="T6" fmla="*/ 78 w 170"/>
                    <a:gd name="T7" fmla="*/ 9 h 158"/>
                    <a:gd name="T8" fmla="*/ 170 w 170"/>
                    <a:gd name="T9" fmla="*/ 88 h 158"/>
                    <a:gd name="T10" fmla="*/ 144 w 170"/>
                    <a:gd name="T11" fmla="*/ 131 h 158"/>
                    <a:gd name="T12" fmla="*/ 122 w 170"/>
                    <a:gd name="T13" fmla="*/ 158 h 158"/>
                    <a:gd name="T14" fmla="*/ 0 w 170"/>
                    <a:gd name="T15" fmla="*/ 79 h 158"/>
                    <a:gd name="T16" fmla="*/ 33 w 170"/>
                    <a:gd name="T17" fmla="*/ 43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0" h="158">
                      <a:moveTo>
                        <a:pt x="33" y="43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3" y="2"/>
                        <a:pt x="76" y="6"/>
                      </a:cubicBezTo>
                      <a:cubicBezTo>
                        <a:pt x="77" y="7"/>
                        <a:pt x="77" y="8"/>
                        <a:pt x="78" y="9"/>
                      </a:cubicBezTo>
                      <a:cubicBezTo>
                        <a:pt x="92" y="28"/>
                        <a:pt x="129" y="75"/>
                        <a:pt x="170" y="88"/>
                      </a:cubicBezTo>
                      <a:cubicBezTo>
                        <a:pt x="144" y="131"/>
                        <a:pt x="144" y="131"/>
                        <a:pt x="144" y="131"/>
                      </a:cubicBezTo>
                      <a:cubicBezTo>
                        <a:pt x="122" y="158"/>
                        <a:pt x="122" y="158"/>
                        <a:pt x="122" y="158"/>
                      </a:cubicBezTo>
                      <a:cubicBezTo>
                        <a:pt x="0" y="79"/>
                        <a:pt x="0" y="79"/>
                        <a:pt x="0" y="79"/>
                      </a:cubicBezTo>
                      <a:lnTo>
                        <a:pt x="33" y="43"/>
                      </a:lnTo>
                      <a:close/>
                    </a:path>
                  </a:pathLst>
                </a:custGeom>
                <a:solidFill>
                  <a:srgbClr val="F9F9F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0" name="Oval 13"/>
                <p:cNvSpPr>
                  <a:spLocks noChangeArrowheads="1"/>
                </p:cNvSpPr>
                <p:nvPr/>
              </p:nvSpPr>
              <p:spPr bwMode="auto">
                <a:xfrm flipH="1">
                  <a:off x="3231467" y="4868172"/>
                  <a:ext cx="98352" cy="98350"/>
                </a:xfrm>
                <a:prstGeom prst="ellipse">
                  <a:avLst/>
                </a:prstGeom>
                <a:solidFill>
                  <a:srgbClr val="F0F0E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234" name="Freeform 33"/>
            <p:cNvSpPr>
              <a:spLocks/>
            </p:cNvSpPr>
            <p:nvPr/>
          </p:nvSpPr>
          <p:spPr bwMode="auto">
            <a:xfrm rot="8448736" flipH="1" flipV="1">
              <a:off x="6396713" y="5152743"/>
              <a:ext cx="1477665" cy="2435903"/>
            </a:xfrm>
            <a:custGeom>
              <a:avLst/>
              <a:gdLst>
                <a:gd name="T0" fmla="*/ 9 w 183"/>
                <a:gd name="T1" fmla="*/ 0 h 204"/>
                <a:gd name="T2" fmla="*/ 174 w 183"/>
                <a:gd name="T3" fmla="*/ 4 h 204"/>
                <a:gd name="T4" fmla="*/ 183 w 183"/>
                <a:gd name="T5" fmla="*/ 204 h 204"/>
                <a:gd name="T6" fmla="*/ 0 w 183"/>
                <a:gd name="T7" fmla="*/ 204 h 204"/>
                <a:gd name="T8" fmla="*/ 9 w 183"/>
                <a:gd name="T9" fmla="*/ 0 h 204"/>
                <a:gd name="connsiteX0" fmla="*/ 492 w 11299"/>
                <a:gd name="connsiteY0" fmla="*/ 0 h 30442"/>
                <a:gd name="connsiteX1" fmla="*/ 9508 w 11299"/>
                <a:gd name="connsiteY1" fmla="*/ 196 h 30442"/>
                <a:gd name="connsiteX2" fmla="*/ 11299 w 11299"/>
                <a:gd name="connsiteY2" fmla="*/ 30442 h 30442"/>
                <a:gd name="connsiteX3" fmla="*/ 0 w 11299"/>
                <a:gd name="connsiteY3" fmla="*/ 10000 h 30442"/>
                <a:gd name="connsiteX4" fmla="*/ 492 w 11299"/>
                <a:gd name="connsiteY4" fmla="*/ 0 h 30442"/>
                <a:gd name="connsiteX0" fmla="*/ 709 w 11516"/>
                <a:gd name="connsiteY0" fmla="*/ 0 h 30442"/>
                <a:gd name="connsiteX1" fmla="*/ 9725 w 11516"/>
                <a:gd name="connsiteY1" fmla="*/ 196 h 30442"/>
                <a:gd name="connsiteX2" fmla="*/ 11516 w 11516"/>
                <a:gd name="connsiteY2" fmla="*/ 30442 h 30442"/>
                <a:gd name="connsiteX3" fmla="*/ 0 w 11516"/>
                <a:gd name="connsiteY3" fmla="*/ 30313 h 30442"/>
                <a:gd name="connsiteX4" fmla="*/ 709 w 11516"/>
                <a:gd name="connsiteY4" fmla="*/ 0 h 30442"/>
                <a:gd name="connsiteX0" fmla="*/ 709 w 10713"/>
                <a:gd name="connsiteY0" fmla="*/ 0 h 30313"/>
                <a:gd name="connsiteX1" fmla="*/ 9725 w 10713"/>
                <a:gd name="connsiteY1" fmla="*/ 196 h 30313"/>
                <a:gd name="connsiteX2" fmla="*/ 10713 w 10713"/>
                <a:gd name="connsiteY2" fmla="*/ 18723 h 30313"/>
                <a:gd name="connsiteX3" fmla="*/ 0 w 10713"/>
                <a:gd name="connsiteY3" fmla="*/ 30313 h 30313"/>
                <a:gd name="connsiteX4" fmla="*/ 709 w 10713"/>
                <a:gd name="connsiteY4" fmla="*/ 0 h 30313"/>
                <a:gd name="connsiteX0" fmla="*/ 281 w 10285"/>
                <a:gd name="connsiteY0" fmla="*/ 0 h 18723"/>
                <a:gd name="connsiteX1" fmla="*/ 9297 w 10285"/>
                <a:gd name="connsiteY1" fmla="*/ 196 h 18723"/>
                <a:gd name="connsiteX2" fmla="*/ 10285 w 10285"/>
                <a:gd name="connsiteY2" fmla="*/ 18723 h 18723"/>
                <a:gd name="connsiteX3" fmla="*/ 0 w 10285"/>
                <a:gd name="connsiteY3" fmla="*/ 11750 h 18723"/>
                <a:gd name="connsiteX4" fmla="*/ 281 w 10285"/>
                <a:gd name="connsiteY4" fmla="*/ 0 h 18723"/>
                <a:gd name="connsiteX0" fmla="*/ 281 w 9918"/>
                <a:gd name="connsiteY0" fmla="*/ 0 h 14334"/>
                <a:gd name="connsiteX1" fmla="*/ 9297 w 9918"/>
                <a:gd name="connsiteY1" fmla="*/ 196 h 14334"/>
                <a:gd name="connsiteX2" fmla="*/ 9918 w 9918"/>
                <a:gd name="connsiteY2" fmla="*/ 14334 h 14334"/>
                <a:gd name="connsiteX3" fmla="*/ 0 w 9918"/>
                <a:gd name="connsiteY3" fmla="*/ 11750 h 14334"/>
                <a:gd name="connsiteX4" fmla="*/ 281 w 9918"/>
                <a:gd name="connsiteY4" fmla="*/ 0 h 14334"/>
                <a:gd name="connsiteX0" fmla="*/ 128 w 9845"/>
                <a:gd name="connsiteY0" fmla="*/ 0 h 10000"/>
                <a:gd name="connsiteX1" fmla="*/ 9219 w 9845"/>
                <a:gd name="connsiteY1" fmla="*/ 137 h 10000"/>
                <a:gd name="connsiteX2" fmla="*/ 9845 w 9845"/>
                <a:gd name="connsiteY2" fmla="*/ 10000 h 10000"/>
                <a:gd name="connsiteX3" fmla="*/ 1 w 9845"/>
                <a:gd name="connsiteY3" fmla="*/ 5047 h 10000"/>
                <a:gd name="connsiteX4" fmla="*/ 128 w 9845"/>
                <a:gd name="connsiteY4" fmla="*/ 0 h 10000"/>
                <a:gd name="connsiteX0" fmla="*/ 129 w 9999"/>
                <a:gd name="connsiteY0" fmla="*/ 0 h 10000"/>
                <a:gd name="connsiteX1" fmla="*/ 9363 w 9999"/>
                <a:gd name="connsiteY1" fmla="*/ 137 h 10000"/>
                <a:gd name="connsiteX2" fmla="*/ 9999 w 9999"/>
                <a:gd name="connsiteY2" fmla="*/ 10000 h 10000"/>
                <a:gd name="connsiteX3" fmla="*/ 0 w 9999"/>
                <a:gd name="connsiteY3" fmla="*/ 5047 h 10000"/>
                <a:gd name="connsiteX4" fmla="*/ 129 w 9999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99" h="10000">
                  <a:moveTo>
                    <a:pt x="129" y="0"/>
                  </a:moveTo>
                  <a:cubicBezTo>
                    <a:pt x="129" y="0"/>
                    <a:pt x="3152" y="889"/>
                    <a:pt x="9363" y="137"/>
                  </a:cubicBezTo>
                  <a:cubicBezTo>
                    <a:pt x="9867" y="6976"/>
                    <a:pt x="9999" y="10000"/>
                    <a:pt x="9999" y="10000"/>
                  </a:cubicBezTo>
                  <a:lnTo>
                    <a:pt x="0" y="5047"/>
                  </a:lnTo>
                  <a:cubicBezTo>
                    <a:pt x="242" y="-2002"/>
                    <a:pt x="-113" y="7049"/>
                    <a:pt x="129" y="0"/>
                  </a:cubicBez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2" name="TextBox 161"/>
          <p:cNvSpPr txBox="1"/>
          <p:nvPr/>
        </p:nvSpPr>
        <p:spPr>
          <a:xfrm>
            <a:off x="1258566" y="2029352"/>
            <a:ext cx="2876550" cy="707886"/>
          </a:xfrm>
          <a:prstGeom prst="rect">
            <a:avLst/>
          </a:prstGeom>
          <a:solidFill>
            <a:schemeClr val="tx1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4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FINTECH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4619623" y="839368"/>
            <a:ext cx="2876550" cy="1323439"/>
          </a:xfrm>
          <a:prstGeom prst="rect">
            <a:avLst/>
          </a:prstGeom>
          <a:solidFill>
            <a:schemeClr val="tx1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4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Sharing Economy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205035" y="4537304"/>
            <a:ext cx="3886139" cy="707886"/>
          </a:xfrm>
          <a:prstGeom prst="rect">
            <a:avLst/>
          </a:prstGeom>
          <a:solidFill>
            <a:schemeClr val="tx1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4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Crowdfunding</a:t>
            </a:r>
          </a:p>
        </p:txBody>
      </p:sp>
    </p:spTree>
    <p:extLst>
      <p:ext uri="{BB962C8B-B14F-4D97-AF65-F5344CB8AC3E}">
        <p14:creationId xmlns:p14="http://schemas.microsoft.com/office/powerpoint/2010/main" val="2092794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6" name="Shape 1166"/>
          <p:cNvSpPr/>
          <p:nvPr/>
        </p:nvSpPr>
        <p:spPr>
          <a:xfrm>
            <a:off x="-1" y="0"/>
            <a:ext cx="12190414" cy="6858000"/>
          </a:xfrm>
          <a:prstGeom prst="rect">
            <a:avLst/>
          </a:prstGeom>
          <a:solidFill>
            <a:srgbClr val="DCBD23">
              <a:alpha val="25117"/>
            </a:srgbClr>
          </a:solidFill>
          <a:ln w="12700">
            <a:miter lim="400000"/>
          </a:ln>
        </p:spPr>
        <p:txBody>
          <a:bodyPr tIns="45720" bIns="45720"/>
          <a:lstStyle/>
          <a:p>
            <a:pPr defTabSz="457200">
              <a:defRPr sz="3600">
                <a:solidFill>
                  <a:srgbClr val="5F5F5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pic>
        <p:nvPicPr>
          <p:cNvPr id="1167" name="drunk.jp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3177874" y="2371593"/>
            <a:ext cx="5836252" cy="3875636"/>
          </a:xfrm>
          <a:prstGeom prst="rect">
            <a:avLst/>
          </a:prstGeom>
          <a:ln w="12700">
            <a:miter lim="400000"/>
          </a:ln>
        </p:spPr>
      </p:pic>
      <p:sp>
        <p:nvSpPr>
          <p:cNvPr id="1168" name="Shape 1168"/>
          <p:cNvSpPr>
            <a:spLocks noGrp="1"/>
          </p:cNvSpPr>
          <p:nvPr>
            <p:ph type="title"/>
          </p:nvPr>
        </p:nvSpPr>
        <p:spPr>
          <a:xfrm>
            <a:off x="1553138" y="495290"/>
            <a:ext cx="9085725" cy="1917200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>
              <a:lnSpc>
                <a:spcPct val="108333"/>
              </a:lnSpc>
              <a:spcBef>
                <a:spcPts val="200"/>
              </a:spcBef>
              <a:defRPr sz="1800"/>
            </a:pPr>
            <a:r>
              <a:rPr sz="4250">
                <a:latin typeface="Trebuchet MS"/>
                <a:ea typeface="Trebuchet MS"/>
                <a:cs typeface="Trebuchet MS"/>
                <a:sym typeface="Trebuchet MS"/>
              </a:rPr>
              <a:t>Would You </a:t>
            </a:r>
            <a:r>
              <a:rPr sz="4250">
                <a:solidFill>
                  <a:srgbClr val="FF0000"/>
                </a:solidFill>
                <a:latin typeface="Trebuchet MS"/>
                <a:ea typeface="Trebuchet MS"/>
                <a:cs typeface="Trebuchet MS"/>
                <a:sym typeface="Trebuchet MS"/>
              </a:rPr>
              <a:t>Pay $1,000</a:t>
            </a:r>
            <a:r>
              <a:rPr sz="4250">
                <a:latin typeface="Trebuchet MS"/>
                <a:ea typeface="Trebuchet MS"/>
                <a:cs typeface="Trebuchet MS"/>
                <a:sym typeface="Trebuchet MS"/>
              </a:rPr>
              <a:t> Once to Get Free Beer for Life?</a:t>
            </a:r>
          </a:p>
        </p:txBody>
      </p:sp>
      <p:pic>
        <p:nvPicPr>
          <p:cNvPr id="1169" name="image25.png"/>
          <p:cNvPicPr/>
          <p:nvPr/>
        </p:nvPicPr>
        <p:blipFill>
          <a:blip r:embed="rId4">
            <a:extLst/>
          </a:blip>
          <a:srcRect l="16613" t="18569" r="17774" b="5482"/>
          <a:stretch>
            <a:fillRect/>
          </a:stretch>
        </p:blipFill>
        <p:spPr>
          <a:xfrm>
            <a:off x="6786314" y="2572709"/>
            <a:ext cx="5101420" cy="3473375"/>
          </a:xfrm>
          <a:prstGeom prst="rect">
            <a:avLst/>
          </a:prstGeom>
          <a:ln w="12700">
            <a:miter lim="400000"/>
          </a:ln>
        </p:spPr>
      </p:pic>
      <p:pic>
        <p:nvPicPr>
          <p:cNvPr id="1170" name="image27.png"/>
          <p:cNvPicPr/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289101" y="2572723"/>
            <a:ext cx="6512378" cy="347330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44762564"/>
      </p:ext>
    </p:extLst>
  </p:cSld>
  <p:clrMapOvr>
    <a:masterClrMapping/>
  </p:clrMapOvr>
  <p:transition>
    <p:dissolve/>
  </p:transition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8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6" dur="600" fill="hold"/>
                                        <p:tgtEl>
                                          <p:spTgt spid="1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600" fill="hold"/>
                                        <p:tgtEl>
                                          <p:spTgt spid="1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fill="hold">
                                          <p:stCondLst>
                                            <p:cond delay="599"/>
                                          </p:stCondLst>
                                        </p:cTn>
                                        <p:tgtEl>
                                          <p:spTgt spid="1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600"/>
                            </p:stCondLst>
                            <p:childTnLst>
                              <p:par>
                                <p:cTn id="10" presetID="2" presetClass="exit" presetSubtype="2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11" dur="600" fill="hold"/>
                                        <p:tgtEl>
                                          <p:spTgt spid="11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600" fill="hold"/>
                                        <p:tgtEl>
                                          <p:spTgt spid="11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3" fill="hold">
                                          <p:stCondLst>
                                            <p:cond delay="599"/>
                                          </p:stCondLst>
                                        </p:cTn>
                                        <p:tgtEl>
                                          <p:spTgt spid="1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200"/>
                            </p:stCondLst>
                            <p:childTnLst>
                              <p:par>
                                <p:cTn id="15" presetID="23" presetClass="entr" presetSubtype="32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6" fill="hold"/>
                                        <p:tgtEl>
                                          <p:spTgt spid="1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300" fill="hold"/>
                                        <p:tgtEl>
                                          <p:spTgt spid="11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300" fill="hold"/>
                                        <p:tgtEl>
                                          <p:spTgt spid="11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67" grpId="0" animBg="1" advAuto="0"/>
      <p:bldP spid="1169" grpId="0" animBg="1" advAuto="0"/>
      <p:bldP spid="1170" grpId="0" animBg="1" advAuto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" name="Shape 1174"/>
          <p:cNvSpPr/>
          <p:nvPr/>
        </p:nvSpPr>
        <p:spPr>
          <a:xfrm>
            <a:off x="-1" y="0"/>
            <a:ext cx="12190414" cy="6858000"/>
          </a:xfrm>
          <a:prstGeom prst="rect">
            <a:avLst/>
          </a:prstGeom>
          <a:solidFill>
            <a:srgbClr val="F5D328">
              <a:alpha val="25117"/>
            </a:srgbClr>
          </a:solidFill>
          <a:ln w="12700">
            <a:miter lim="400000"/>
          </a:ln>
        </p:spPr>
        <p:txBody>
          <a:bodyPr tIns="45720" bIns="45720"/>
          <a:lstStyle/>
          <a:p>
            <a:pPr defTabSz="457200">
              <a:defRPr sz="3600">
                <a:solidFill>
                  <a:srgbClr val="5F5F5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175" name="Shape 1175"/>
          <p:cNvSpPr>
            <a:spLocks noGrp="1"/>
          </p:cNvSpPr>
          <p:nvPr>
            <p:ph type="title"/>
          </p:nvPr>
        </p:nvSpPr>
        <p:spPr>
          <a:xfrm>
            <a:off x="585383" y="601013"/>
            <a:ext cx="10972801" cy="104768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98684"/>
              </a:lnSpc>
              <a:defRPr sz="10400">
                <a:latin typeface="헤드라인A"/>
                <a:ea typeface="헤드라인A"/>
                <a:cs typeface="헤드라인A"/>
                <a:sym typeface="헤드라인A"/>
              </a:defRPr>
            </a:lvl1pPr>
          </a:lstStyle>
          <a:p>
            <a:pPr lvl="0">
              <a:defRPr sz="1800"/>
            </a:pPr>
            <a:r>
              <a:rPr sz="5200"/>
              <a:t>Haryana bridge</a:t>
            </a:r>
          </a:p>
        </p:txBody>
      </p:sp>
      <p:pic>
        <p:nvPicPr>
          <p:cNvPr id="1176" name="image37.pn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571558" y="1684139"/>
            <a:ext cx="9063951" cy="472486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76569146"/>
      </p:ext>
    </p:extLst>
  </p:cSld>
  <p:clrMapOvr>
    <a:masterClrMapping/>
  </p:clrMapOvr>
  <p:transition>
    <p:dissolve/>
  </p:transition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1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76" grpId="0" animBg="1" advAuto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80" name="image38.pn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77919" y="-1"/>
            <a:ext cx="10900494" cy="685799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57424569"/>
      </p:ext>
    </p:extLst>
  </p:cSld>
  <p:clrMapOvr>
    <a:masterClrMapping/>
  </p:clrMapOvr>
  <p:transition>
    <p:dissolve/>
  </p:transition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32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1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80" grpId="0" animBg="1" advAuto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587404" y="5592893"/>
            <a:ext cx="8604596" cy="707886"/>
          </a:xfrm>
          <a:prstGeom prst="rect">
            <a:avLst/>
          </a:prstGeom>
          <a:solidFill>
            <a:schemeClr val="tx1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4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Rethinking the roles of GOVERNMENT</a:t>
            </a:r>
            <a:endParaRPr lang="en-US" sz="6000" b="1" dirty="0" smtClean="0"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Flowchart: Connector 4"/>
          <p:cNvSpPr/>
          <p:nvPr/>
        </p:nvSpPr>
        <p:spPr>
          <a:xfrm>
            <a:off x="2177704" y="5361048"/>
            <a:ext cx="1190625" cy="1171575"/>
          </a:xfrm>
          <a:prstGeom prst="flowChartConnector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600" dirty="0" smtClean="0">
                <a:solidFill>
                  <a:schemeClr val="bg1"/>
                </a:solidFill>
              </a:rPr>
              <a:t>6</a:t>
            </a:r>
            <a:endParaRPr lang="en-US" sz="96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638300" y="4653163"/>
            <a:ext cx="8604596" cy="707886"/>
          </a:xfrm>
          <a:prstGeom prst="rect">
            <a:avLst/>
          </a:prstGeom>
          <a:solidFill>
            <a:schemeClr val="tx1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4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Corporate – No more cubical nation </a:t>
            </a:r>
          </a:p>
        </p:txBody>
      </p:sp>
      <p:sp>
        <p:nvSpPr>
          <p:cNvPr id="7" name="Flowchart: Connector 6"/>
          <p:cNvSpPr/>
          <p:nvPr/>
        </p:nvSpPr>
        <p:spPr>
          <a:xfrm>
            <a:off x="228600" y="4421318"/>
            <a:ext cx="1190625" cy="1171575"/>
          </a:xfrm>
          <a:prstGeom prst="flowChartConnector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600" dirty="0" smtClean="0">
                <a:solidFill>
                  <a:schemeClr val="bg1"/>
                </a:solidFill>
              </a:rPr>
              <a:t>5</a:t>
            </a:r>
            <a:endParaRPr lang="en-US" sz="960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3521" y="3626515"/>
            <a:ext cx="10785821" cy="707886"/>
          </a:xfrm>
          <a:prstGeom prst="rect">
            <a:avLst/>
          </a:prstGeom>
          <a:solidFill>
            <a:schemeClr val="tx1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4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LIFE HACKING. And it is not just about shortcut</a:t>
            </a:r>
            <a:r>
              <a:rPr lang="en-US" sz="4000" b="1" dirty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.</a:t>
            </a:r>
            <a:endParaRPr lang="en-US" sz="6000" b="1" dirty="0" smtClean="0"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Flowchart: Connector 8"/>
          <p:cNvSpPr/>
          <p:nvPr/>
        </p:nvSpPr>
        <p:spPr>
          <a:xfrm>
            <a:off x="10921654" y="3249743"/>
            <a:ext cx="1190625" cy="1171575"/>
          </a:xfrm>
          <a:prstGeom prst="flowChartConnector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6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2666491"/>
            <a:ext cx="12195521" cy="707886"/>
          </a:xfrm>
          <a:prstGeom prst="rect">
            <a:avLst/>
          </a:prstGeom>
          <a:solidFill>
            <a:schemeClr val="tx1"/>
          </a:solidFill>
        </p:spPr>
        <p:txBody>
          <a:bodyPr wrap="square" lIns="0" rIns="0" rtlCol="0">
            <a:spAutoFit/>
          </a:bodyPr>
          <a:lstStyle/>
          <a:p>
            <a:r>
              <a:rPr lang="en-US" sz="4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Ministry of Education  &gt;  Ministry of Human Competitiveness </a:t>
            </a:r>
            <a:endParaRPr lang="en-US" sz="6000" b="1" dirty="0" smtClean="0"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Flowchart: Connector 10"/>
          <p:cNvSpPr/>
          <p:nvPr/>
        </p:nvSpPr>
        <p:spPr>
          <a:xfrm>
            <a:off x="211384" y="1400469"/>
            <a:ext cx="1190625" cy="1171575"/>
          </a:xfrm>
          <a:prstGeom prst="flowChartConnector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6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959004" y="1551924"/>
            <a:ext cx="6909146" cy="707886"/>
          </a:xfrm>
          <a:prstGeom prst="rect">
            <a:avLst/>
          </a:prstGeom>
          <a:solidFill>
            <a:schemeClr val="tx1"/>
          </a:solidFill>
        </p:spPr>
        <p:txBody>
          <a:bodyPr wrap="square" lIns="0" rIns="0" rtlCol="0">
            <a:spAutoFit/>
          </a:bodyPr>
          <a:lstStyle/>
          <a:p>
            <a:r>
              <a:rPr lang="en-US" sz="4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Rethinking conventional theories</a:t>
            </a:r>
            <a:endParaRPr lang="en-US" sz="6000" b="1" dirty="0" smtClean="0"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Flowchart: Connector 12"/>
          <p:cNvSpPr/>
          <p:nvPr/>
        </p:nvSpPr>
        <p:spPr>
          <a:xfrm>
            <a:off x="3587404" y="1239907"/>
            <a:ext cx="1190625" cy="1171575"/>
          </a:xfrm>
          <a:prstGeom prst="flowChartConnector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600" dirty="0" smtClean="0">
                <a:solidFill>
                  <a:schemeClr val="bg1"/>
                </a:solidFill>
              </a:rPr>
              <a:t>2</a:t>
            </a:r>
            <a:endParaRPr lang="en-US" sz="9600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933143" y="416420"/>
            <a:ext cx="9444320" cy="707886"/>
          </a:xfrm>
          <a:prstGeom prst="rect">
            <a:avLst/>
          </a:prstGeom>
          <a:solidFill>
            <a:schemeClr val="tx1"/>
          </a:solidFill>
        </p:spPr>
        <p:txBody>
          <a:bodyPr wrap="square" lIns="0" rIns="0" rtlCol="0">
            <a:spAutoFit/>
          </a:bodyPr>
          <a:lstStyle/>
          <a:p>
            <a:r>
              <a:rPr lang="en-US" sz="4000" b="1" dirty="0" smtClea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+mj-lt"/>
              </a:rPr>
              <a:t>Year of Birth ≠ Principle of attitude &amp; Behavior</a:t>
            </a:r>
            <a:endParaRPr lang="en-US" sz="6000" b="1" dirty="0" smtClean="0"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Flowchart: Connector 14"/>
          <p:cNvSpPr/>
          <p:nvPr/>
        </p:nvSpPr>
        <p:spPr>
          <a:xfrm>
            <a:off x="561543" y="104403"/>
            <a:ext cx="1190625" cy="1171575"/>
          </a:xfrm>
          <a:prstGeom prst="flowChartConnector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600" dirty="0" smtClean="0">
                <a:solidFill>
                  <a:schemeClr val="bg1"/>
                </a:solidFill>
              </a:rPr>
              <a:t>1</a:t>
            </a:r>
            <a:endParaRPr lang="en-US" sz="9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172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865" y="61473"/>
            <a:ext cx="3855697" cy="6858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5924" y="61473"/>
            <a:ext cx="3855697" cy="6858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70" t="29524" r="73095" b="42539"/>
          <a:stretch/>
        </p:blipFill>
        <p:spPr>
          <a:xfrm>
            <a:off x="317833" y="175075"/>
            <a:ext cx="1944628" cy="1974547"/>
          </a:xfrm>
          <a:prstGeom prst="flowChartConnector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67" b="17778"/>
          <a:stretch/>
        </p:blipFill>
        <p:spPr>
          <a:xfrm>
            <a:off x="6417907" y="2143997"/>
            <a:ext cx="2069258" cy="2044733"/>
          </a:xfrm>
          <a:prstGeom prst="flowChartConnector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287053" y="4441371"/>
            <a:ext cx="19207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/>
              <a:t>100</a:t>
            </a:r>
            <a:r>
              <a:rPr lang="en-US" dirty="0" smtClean="0"/>
              <a:t> texts / day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96889" y="2263224"/>
            <a:ext cx="145270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/>
              <a:t>5</a:t>
            </a:r>
            <a:r>
              <a:rPr lang="en-US" dirty="0" smtClean="0"/>
              <a:t> texts / day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661" y="3020463"/>
            <a:ext cx="21500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/>
              <a:t>300+</a:t>
            </a:r>
            <a:r>
              <a:rPr lang="en-US" dirty="0" smtClean="0"/>
              <a:t> texts / da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8239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6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http://www.holidaythai.com/board/picture/324585151f3b994b6a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5463" y="2770366"/>
            <a:ext cx="3776537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770365"/>
            <a:ext cx="3810000" cy="3810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1000" y="2770365"/>
            <a:ext cx="3810000" cy="3810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67" b="17778"/>
          <a:stretch/>
        </p:blipFill>
        <p:spPr>
          <a:xfrm>
            <a:off x="9569808" y="1221293"/>
            <a:ext cx="2069258" cy="2044733"/>
          </a:xfrm>
          <a:prstGeom prst="flowChartConnector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52" t="24656" r="48175" b="40424"/>
          <a:stretch/>
        </p:blipFill>
        <p:spPr>
          <a:xfrm>
            <a:off x="595430" y="198927"/>
            <a:ext cx="2019948" cy="2044733"/>
          </a:xfrm>
          <a:prstGeom prst="flowChartConnector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2611381" y="75797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th-TH" sz="5400" b="1" dirty="0" smtClean="0">
                <a:latin typeface="Browallia New" panose="020B0604020202020204" pitchFamily="34" charset="-34"/>
                <a:cs typeface="Browallia New" panose="020B0604020202020204" pitchFamily="34" charset="-34"/>
              </a:rPr>
              <a:t>อัลไล นี่มันอะไร</a:t>
            </a:r>
            <a:r>
              <a:rPr lang="en-US" sz="5400" b="1" dirty="0" smtClean="0">
                <a:latin typeface="Browallia New" panose="020B0604020202020204" pitchFamily="34" charset="-34"/>
                <a:cs typeface="Browallia New" panose="020B0604020202020204" pitchFamily="34" charset="-34"/>
              </a:rPr>
              <a:t>?</a:t>
            </a:r>
            <a:endParaRPr lang="th-TH" sz="5400" b="1" dirty="0" smtClean="0">
              <a:latin typeface="Browallia New" panose="020B0604020202020204" pitchFamily="34" charset="-34"/>
              <a:cs typeface="Browallia New" panose="020B0604020202020204" pitchFamily="34" charset="-34"/>
            </a:endParaRPr>
          </a:p>
          <a:p>
            <a:endParaRPr lang="en-US" sz="5400" b="1" dirty="0">
              <a:latin typeface="Browallia New" panose="020B0604020202020204" pitchFamily="34" charset="-34"/>
              <a:cs typeface="Browallia New" panose="020B0604020202020204" pitchFamily="34" charset="-34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3684233" y="1709061"/>
            <a:ext cx="5799194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th-TH" sz="5400" b="1" dirty="0" smtClean="0">
                <a:latin typeface="Browallia New" panose="020B0604020202020204" pitchFamily="34" charset="-34"/>
                <a:cs typeface="Browallia New" panose="020B0604020202020204" pitchFamily="34" charset="-34"/>
              </a:rPr>
              <a:t>ถามเจงงงง</a:t>
            </a:r>
            <a:endParaRPr lang="en-US" sz="5400" b="1" dirty="0">
              <a:latin typeface="Browallia New" panose="020B0604020202020204" pitchFamily="34" charset="-34"/>
              <a:cs typeface="Browallia New" panose="020B0604020202020204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770501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93941" y="-61473"/>
            <a:ext cx="4725681" cy="6858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362" name="Picture 2" descr="http://market.kapook.com/upload_contents/product/2015-06-29/5590b6adef7296fc62000045-0-20150629100829-f9ed15e4221641bccd0bfedddc11aae7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450115"/>
            <a:ext cx="6096000" cy="477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64" t="41693" r="3810" b="5503"/>
          <a:stretch/>
        </p:blipFill>
        <p:spPr>
          <a:xfrm>
            <a:off x="6770389" y="3874585"/>
            <a:ext cx="2793011" cy="2644615"/>
          </a:xfrm>
          <a:prstGeom prst="flowChartConnector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70" t="29524" r="73095" b="42539"/>
          <a:stretch/>
        </p:blipFill>
        <p:spPr>
          <a:xfrm>
            <a:off x="2065118" y="706829"/>
            <a:ext cx="2556069" cy="2595396"/>
          </a:xfrm>
          <a:prstGeom prst="flowChartConnector">
            <a:avLst/>
          </a:prstGeom>
        </p:spPr>
      </p:pic>
      <p:pic>
        <p:nvPicPr>
          <p:cNvPr id="15364" name="Picture 4" descr="https://upload.wikimedia.org/wikipedia/commons/thumb/3/32/FaceTime_App.svg/2000px-FaceTime_App.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5205" y="2551099"/>
            <a:ext cx="2049596" cy="2049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6" name="Picture 6" descr="https://www.fws.gov/duckstamps/federal/stamps/images/2005fedstamp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6399" y="324487"/>
            <a:ext cx="3030588" cy="2424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0691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C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630" y="2701071"/>
            <a:ext cx="10515600" cy="1325563"/>
          </a:xfrm>
        </p:spPr>
        <p:txBody>
          <a:bodyPr/>
          <a:lstStyle/>
          <a:p>
            <a:r>
              <a:rPr lang="en-US" b="1" dirty="0" smtClean="0"/>
              <a:t>MOTHER’S DAY</a:t>
            </a:r>
            <a:endParaRPr lang="en-US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70" t="29524" r="73095" b="42539"/>
          <a:stretch/>
        </p:blipFill>
        <p:spPr>
          <a:xfrm>
            <a:off x="6557270" y="2311236"/>
            <a:ext cx="1944628" cy="1974547"/>
          </a:xfrm>
          <a:prstGeom prst="flowChartConnector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" t="10756" r="30629" b="37927"/>
          <a:stretch/>
        </p:blipFill>
        <p:spPr>
          <a:xfrm>
            <a:off x="4056482" y="3826650"/>
            <a:ext cx="1959139" cy="1928178"/>
          </a:xfrm>
          <a:prstGeom prst="flowChartConnector">
            <a:avLst/>
          </a:prstGeom>
        </p:spPr>
      </p:pic>
    </p:spTree>
    <p:extLst>
      <p:ext uri="{BB962C8B-B14F-4D97-AF65-F5344CB8AC3E}">
        <p14:creationId xmlns:p14="http://schemas.microsoft.com/office/powerpoint/2010/main" val="331259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6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G_8479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3672115" y="509102"/>
            <a:ext cx="5556024" cy="555602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67" b="17778"/>
          <a:stretch/>
        </p:blipFill>
        <p:spPr>
          <a:xfrm>
            <a:off x="1807486" y="330565"/>
            <a:ext cx="2069258" cy="2044733"/>
          </a:xfrm>
          <a:prstGeom prst="flowChartConnector">
            <a:avLst/>
          </a:prstGeom>
        </p:spPr>
      </p:pic>
    </p:spTree>
    <p:extLst>
      <p:ext uri="{BB962C8B-B14F-4D97-AF65-F5344CB8AC3E}">
        <p14:creationId xmlns:p14="http://schemas.microsoft.com/office/powerpoint/2010/main" val="13905067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716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/>
        </p:nvGrpSpPr>
        <p:grpSpPr>
          <a:xfrm>
            <a:off x="810091" y="838300"/>
            <a:ext cx="10539122" cy="5501531"/>
            <a:chOff x="809297" y="838299"/>
            <a:chExt cx="10539122" cy="5501531"/>
          </a:xfrm>
        </p:grpSpPr>
        <p:cxnSp>
          <p:nvCxnSpPr>
            <p:cNvPr id="48" name="Gerade Verbindung 47"/>
            <p:cNvCxnSpPr/>
            <p:nvPr/>
          </p:nvCxnSpPr>
          <p:spPr>
            <a:xfrm flipH="1" flipV="1">
              <a:off x="5916575" y="3205377"/>
              <a:ext cx="1000040" cy="1992386"/>
            </a:xfrm>
            <a:prstGeom prst="line">
              <a:avLst/>
            </a:prstGeom>
            <a:ln w="19050">
              <a:solidFill>
                <a:srgbClr val="3F96CE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/>
          </p:nvCxnSpPr>
          <p:spPr>
            <a:xfrm flipH="1" flipV="1">
              <a:off x="5916574" y="3205378"/>
              <a:ext cx="4291922" cy="1992385"/>
            </a:xfrm>
            <a:prstGeom prst="line">
              <a:avLst/>
            </a:prstGeom>
            <a:ln w="19050">
              <a:solidFill>
                <a:srgbClr val="3F96CE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Freeform 15"/>
            <p:cNvSpPr>
              <a:spLocks noEditPoints="1"/>
            </p:cNvSpPr>
            <p:nvPr/>
          </p:nvSpPr>
          <p:spPr bwMode="auto">
            <a:xfrm>
              <a:off x="10535791" y="2662097"/>
              <a:ext cx="812628" cy="732258"/>
            </a:xfrm>
            <a:custGeom>
              <a:avLst/>
              <a:gdLst>
                <a:gd name="T0" fmla="*/ 139 w 154"/>
                <a:gd name="T1" fmla="*/ 77 h 139"/>
                <a:gd name="T2" fmla="*/ 133 w 154"/>
                <a:gd name="T3" fmla="*/ 0 h 139"/>
                <a:gd name="T4" fmla="*/ 16 w 154"/>
                <a:gd name="T5" fmla="*/ 76 h 139"/>
                <a:gd name="T6" fmla="*/ 6 w 154"/>
                <a:gd name="T7" fmla="*/ 82 h 139"/>
                <a:gd name="T8" fmla="*/ 0 w 154"/>
                <a:gd name="T9" fmla="*/ 97 h 139"/>
                <a:gd name="T10" fmla="*/ 12 w 154"/>
                <a:gd name="T11" fmla="*/ 116 h 139"/>
                <a:gd name="T12" fmla="*/ 32 w 154"/>
                <a:gd name="T13" fmla="*/ 119 h 139"/>
                <a:gd name="T14" fmla="*/ 39 w 154"/>
                <a:gd name="T15" fmla="*/ 132 h 139"/>
                <a:gd name="T16" fmla="*/ 103 w 154"/>
                <a:gd name="T17" fmla="*/ 139 h 139"/>
                <a:gd name="T18" fmla="*/ 116 w 154"/>
                <a:gd name="T19" fmla="*/ 134 h 139"/>
                <a:gd name="T20" fmla="*/ 122 w 154"/>
                <a:gd name="T21" fmla="*/ 117 h 139"/>
                <a:gd name="T22" fmla="*/ 148 w 154"/>
                <a:gd name="T23" fmla="*/ 111 h 139"/>
                <a:gd name="T24" fmla="*/ 152 w 154"/>
                <a:gd name="T25" fmla="*/ 89 h 139"/>
                <a:gd name="T26" fmla="*/ 77 w 154"/>
                <a:gd name="T27" fmla="*/ 57 h 139"/>
                <a:gd name="T28" fmla="*/ 25 w 154"/>
                <a:gd name="T29" fmla="*/ 12 h 139"/>
                <a:gd name="T30" fmla="*/ 128 w 154"/>
                <a:gd name="T31" fmla="*/ 12 h 139"/>
                <a:gd name="T32" fmla="*/ 122 w 154"/>
                <a:gd name="T33" fmla="*/ 64 h 139"/>
                <a:gd name="T34" fmla="*/ 95 w 154"/>
                <a:gd name="T35" fmla="*/ 71 h 139"/>
                <a:gd name="T36" fmla="*/ 89 w 154"/>
                <a:gd name="T37" fmla="*/ 76 h 139"/>
                <a:gd name="T38" fmla="*/ 62 w 154"/>
                <a:gd name="T39" fmla="*/ 76 h 139"/>
                <a:gd name="T40" fmla="*/ 58 w 154"/>
                <a:gd name="T41" fmla="*/ 71 h 139"/>
                <a:gd name="T42" fmla="*/ 28 w 154"/>
                <a:gd name="T43" fmla="*/ 65 h 139"/>
                <a:gd name="T44" fmla="*/ 33 w 154"/>
                <a:gd name="T45" fmla="*/ 106 h 139"/>
                <a:gd name="T46" fmla="*/ 31 w 154"/>
                <a:gd name="T47" fmla="*/ 113 h 139"/>
                <a:gd name="T48" fmla="*/ 14 w 154"/>
                <a:gd name="T49" fmla="*/ 112 h 139"/>
                <a:gd name="T50" fmla="*/ 4 w 154"/>
                <a:gd name="T51" fmla="*/ 97 h 139"/>
                <a:gd name="T52" fmla="*/ 13 w 154"/>
                <a:gd name="T53" fmla="*/ 82 h 139"/>
                <a:gd name="T54" fmla="*/ 23 w 154"/>
                <a:gd name="T55" fmla="*/ 74 h 139"/>
                <a:gd name="T56" fmla="*/ 48 w 154"/>
                <a:gd name="T57" fmla="*/ 69 h 139"/>
                <a:gd name="T58" fmla="*/ 59 w 154"/>
                <a:gd name="T59" fmla="*/ 77 h 139"/>
                <a:gd name="T60" fmla="*/ 59 w 154"/>
                <a:gd name="T61" fmla="*/ 82 h 139"/>
                <a:gd name="T62" fmla="*/ 50 w 154"/>
                <a:gd name="T63" fmla="*/ 91 h 139"/>
                <a:gd name="T64" fmla="*/ 33 w 154"/>
                <a:gd name="T65" fmla="*/ 106 h 139"/>
                <a:gd name="T66" fmla="*/ 114 w 154"/>
                <a:gd name="T67" fmla="*/ 130 h 139"/>
                <a:gd name="T68" fmla="*/ 103 w 154"/>
                <a:gd name="T69" fmla="*/ 135 h 139"/>
                <a:gd name="T70" fmla="*/ 42 w 154"/>
                <a:gd name="T71" fmla="*/ 130 h 139"/>
                <a:gd name="T72" fmla="*/ 37 w 154"/>
                <a:gd name="T73" fmla="*/ 122 h 139"/>
                <a:gd name="T74" fmla="*/ 41 w 154"/>
                <a:gd name="T75" fmla="*/ 101 h 139"/>
                <a:gd name="T76" fmla="*/ 53 w 154"/>
                <a:gd name="T77" fmla="*/ 94 h 139"/>
                <a:gd name="T78" fmla="*/ 54 w 154"/>
                <a:gd name="T79" fmla="*/ 93 h 139"/>
                <a:gd name="T80" fmla="*/ 79 w 154"/>
                <a:gd name="T81" fmla="*/ 79 h 139"/>
                <a:gd name="T82" fmla="*/ 108 w 154"/>
                <a:gd name="T83" fmla="*/ 105 h 139"/>
                <a:gd name="T84" fmla="*/ 115 w 154"/>
                <a:gd name="T85" fmla="*/ 111 h 139"/>
                <a:gd name="T86" fmla="*/ 117 w 154"/>
                <a:gd name="T87" fmla="*/ 115 h 139"/>
                <a:gd name="T88" fmla="*/ 118 w 154"/>
                <a:gd name="T89" fmla="*/ 120 h 139"/>
                <a:gd name="T90" fmla="*/ 145 w 154"/>
                <a:gd name="T91" fmla="*/ 108 h 139"/>
                <a:gd name="T92" fmla="*/ 121 w 154"/>
                <a:gd name="T93" fmla="*/ 113 h 139"/>
                <a:gd name="T94" fmla="*/ 118 w 154"/>
                <a:gd name="T95" fmla="*/ 108 h 139"/>
                <a:gd name="T96" fmla="*/ 111 w 154"/>
                <a:gd name="T97" fmla="*/ 103 h 139"/>
                <a:gd name="T98" fmla="*/ 108 w 154"/>
                <a:gd name="T99" fmla="*/ 94 h 139"/>
                <a:gd name="T100" fmla="*/ 101 w 154"/>
                <a:gd name="T101" fmla="*/ 84 h 139"/>
                <a:gd name="T102" fmla="*/ 95 w 154"/>
                <a:gd name="T103" fmla="*/ 77 h 139"/>
                <a:gd name="T104" fmla="*/ 98 w 154"/>
                <a:gd name="T105" fmla="*/ 73 h 139"/>
                <a:gd name="T106" fmla="*/ 127 w 154"/>
                <a:gd name="T107" fmla="*/ 71 h 139"/>
                <a:gd name="T108" fmla="*/ 134 w 154"/>
                <a:gd name="T109" fmla="*/ 79 h 139"/>
                <a:gd name="T110" fmla="*/ 145 w 154"/>
                <a:gd name="T111" fmla="*/ 85 h 139"/>
                <a:gd name="T112" fmla="*/ 149 w 154"/>
                <a:gd name="T113" fmla="*/ 103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4" h="139">
                  <a:moveTo>
                    <a:pt x="148" y="83"/>
                  </a:moveTo>
                  <a:cubicBezTo>
                    <a:pt x="147" y="81"/>
                    <a:pt x="145" y="79"/>
                    <a:pt x="143" y="78"/>
                  </a:cubicBezTo>
                  <a:cubicBezTo>
                    <a:pt x="141" y="78"/>
                    <a:pt x="140" y="77"/>
                    <a:pt x="139" y="77"/>
                  </a:cubicBezTo>
                  <a:cubicBezTo>
                    <a:pt x="137" y="76"/>
                    <a:pt x="137" y="76"/>
                    <a:pt x="137" y="76"/>
                  </a:cubicBezTo>
                  <a:cubicBezTo>
                    <a:pt x="137" y="4"/>
                    <a:pt x="137" y="4"/>
                    <a:pt x="137" y="4"/>
                  </a:cubicBezTo>
                  <a:cubicBezTo>
                    <a:pt x="137" y="2"/>
                    <a:pt x="135" y="0"/>
                    <a:pt x="133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8" y="0"/>
                    <a:pt x="16" y="2"/>
                    <a:pt x="16" y="4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3" y="77"/>
                    <a:pt x="12" y="78"/>
                    <a:pt x="11" y="78"/>
                  </a:cubicBezTo>
                  <a:cubicBezTo>
                    <a:pt x="9" y="79"/>
                    <a:pt x="7" y="81"/>
                    <a:pt x="6" y="82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4" y="84"/>
                    <a:pt x="2" y="87"/>
                    <a:pt x="1" y="89"/>
                  </a:cubicBezTo>
                  <a:cubicBezTo>
                    <a:pt x="0" y="92"/>
                    <a:pt x="0" y="94"/>
                    <a:pt x="0" y="97"/>
                  </a:cubicBezTo>
                  <a:cubicBezTo>
                    <a:pt x="0" y="99"/>
                    <a:pt x="0" y="102"/>
                    <a:pt x="1" y="104"/>
                  </a:cubicBezTo>
                  <a:cubicBezTo>
                    <a:pt x="2" y="107"/>
                    <a:pt x="4" y="109"/>
                    <a:pt x="6" y="111"/>
                  </a:cubicBezTo>
                  <a:cubicBezTo>
                    <a:pt x="8" y="113"/>
                    <a:pt x="10" y="115"/>
                    <a:pt x="12" y="116"/>
                  </a:cubicBezTo>
                  <a:cubicBezTo>
                    <a:pt x="15" y="117"/>
                    <a:pt x="18" y="117"/>
                    <a:pt x="20" y="117"/>
                  </a:cubicBezTo>
                  <a:cubicBezTo>
                    <a:pt x="31" y="117"/>
                    <a:pt x="31" y="117"/>
                    <a:pt x="31" y="117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2" y="121"/>
                    <a:pt x="33" y="122"/>
                    <a:pt x="33" y="124"/>
                  </a:cubicBezTo>
                  <a:cubicBezTo>
                    <a:pt x="34" y="127"/>
                    <a:pt x="36" y="130"/>
                    <a:pt x="38" y="132"/>
                  </a:cubicBezTo>
                  <a:cubicBezTo>
                    <a:pt x="39" y="132"/>
                    <a:pt x="39" y="132"/>
                    <a:pt x="39" y="132"/>
                  </a:cubicBezTo>
                  <a:cubicBezTo>
                    <a:pt x="41" y="134"/>
                    <a:pt x="43" y="136"/>
                    <a:pt x="46" y="137"/>
                  </a:cubicBezTo>
                  <a:cubicBezTo>
                    <a:pt x="49" y="139"/>
                    <a:pt x="53" y="139"/>
                    <a:pt x="56" y="139"/>
                  </a:cubicBezTo>
                  <a:cubicBezTo>
                    <a:pt x="103" y="139"/>
                    <a:pt x="103" y="139"/>
                    <a:pt x="103" y="139"/>
                  </a:cubicBezTo>
                  <a:cubicBezTo>
                    <a:pt x="105" y="139"/>
                    <a:pt x="108" y="139"/>
                    <a:pt x="110" y="138"/>
                  </a:cubicBezTo>
                  <a:cubicBezTo>
                    <a:pt x="112" y="137"/>
                    <a:pt x="114" y="136"/>
                    <a:pt x="116" y="134"/>
                  </a:cubicBezTo>
                  <a:cubicBezTo>
                    <a:pt x="116" y="134"/>
                    <a:pt x="116" y="134"/>
                    <a:pt x="116" y="134"/>
                  </a:cubicBezTo>
                  <a:cubicBezTo>
                    <a:pt x="118" y="132"/>
                    <a:pt x="120" y="130"/>
                    <a:pt x="121" y="127"/>
                  </a:cubicBezTo>
                  <a:cubicBezTo>
                    <a:pt x="122" y="125"/>
                    <a:pt x="122" y="123"/>
                    <a:pt x="122" y="120"/>
                  </a:cubicBezTo>
                  <a:cubicBezTo>
                    <a:pt x="122" y="117"/>
                    <a:pt x="122" y="117"/>
                    <a:pt x="122" y="117"/>
                  </a:cubicBezTo>
                  <a:cubicBezTo>
                    <a:pt x="133" y="117"/>
                    <a:pt x="133" y="117"/>
                    <a:pt x="133" y="117"/>
                  </a:cubicBezTo>
                  <a:cubicBezTo>
                    <a:pt x="136" y="117"/>
                    <a:pt x="139" y="117"/>
                    <a:pt x="141" y="116"/>
                  </a:cubicBezTo>
                  <a:cubicBezTo>
                    <a:pt x="144" y="115"/>
                    <a:pt x="146" y="113"/>
                    <a:pt x="148" y="111"/>
                  </a:cubicBezTo>
                  <a:cubicBezTo>
                    <a:pt x="150" y="109"/>
                    <a:pt x="151" y="107"/>
                    <a:pt x="152" y="104"/>
                  </a:cubicBezTo>
                  <a:cubicBezTo>
                    <a:pt x="153" y="102"/>
                    <a:pt x="154" y="99"/>
                    <a:pt x="154" y="97"/>
                  </a:cubicBezTo>
                  <a:cubicBezTo>
                    <a:pt x="154" y="94"/>
                    <a:pt x="153" y="91"/>
                    <a:pt x="152" y="89"/>
                  </a:cubicBezTo>
                  <a:cubicBezTo>
                    <a:pt x="151" y="87"/>
                    <a:pt x="150" y="84"/>
                    <a:pt x="148" y="83"/>
                  </a:cubicBezTo>
                  <a:close/>
                  <a:moveTo>
                    <a:pt x="125" y="9"/>
                  </a:moveTo>
                  <a:cubicBezTo>
                    <a:pt x="77" y="57"/>
                    <a:pt x="77" y="57"/>
                    <a:pt x="77" y="57"/>
                  </a:cubicBezTo>
                  <a:cubicBezTo>
                    <a:pt x="28" y="9"/>
                    <a:pt x="28" y="9"/>
                    <a:pt x="28" y="9"/>
                  </a:cubicBezTo>
                  <a:lnTo>
                    <a:pt x="125" y="9"/>
                  </a:lnTo>
                  <a:close/>
                  <a:moveTo>
                    <a:pt x="25" y="1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6" y="62"/>
                    <a:pt x="77" y="62"/>
                    <a:pt x="78" y="62"/>
                  </a:cubicBezTo>
                  <a:cubicBezTo>
                    <a:pt x="128" y="12"/>
                    <a:pt x="128" y="12"/>
                    <a:pt x="128" y="12"/>
                  </a:cubicBezTo>
                  <a:cubicBezTo>
                    <a:pt x="128" y="67"/>
                    <a:pt x="128" y="67"/>
                    <a:pt x="128" y="67"/>
                  </a:cubicBezTo>
                  <a:cubicBezTo>
                    <a:pt x="125" y="65"/>
                    <a:pt x="125" y="65"/>
                    <a:pt x="125" y="65"/>
                  </a:cubicBezTo>
                  <a:cubicBezTo>
                    <a:pt x="124" y="65"/>
                    <a:pt x="123" y="64"/>
                    <a:pt x="122" y="64"/>
                  </a:cubicBezTo>
                  <a:cubicBezTo>
                    <a:pt x="116" y="62"/>
                    <a:pt x="110" y="63"/>
                    <a:pt x="104" y="65"/>
                  </a:cubicBezTo>
                  <a:cubicBezTo>
                    <a:pt x="101" y="66"/>
                    <a:pt x="98" y="68"/>
                    <a:pt x="95" y="71"/>
                  </a:cubicBezTo>
                  <a:cubicBezTo>
                    <a:pt x="95" y="71"/>
                    <a:pt x="95" y="71"/>
                    <a:pt x="95" y="71"/>
                  </a:cubicBezTo>
                  <a:cubicBezTo>
                    <a:pt x="94" y="72"/>
                    <a:pt x="93" y="73"/>
                    <a:pt x="92" y="74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89" y="76"/>
                    <a:pt x="89" y="76"/>
                    <a:pt x="89" y="76"/>
                  </a:cubicBezTo>
                  <a:cubicBezTo>
                    <a:pt x="82" y="74"/>
                    <a:pt x="72" y="74"/>
                    <a:pt x="65" y="7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5"/>
                    <a:pt x="62" y="75"/>
                    <a:pt x="62" y="75"/>
                  </a:cubicBezTo>
                  <a:cubicBezTo>
                    <a:pt x="61" y="74"/>
                    <a:pt x="60" y="72"/>
                    <a:pt x="59" y="71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56" y="68"/>
                    <a:pt x="53" y="66"/>
                    <a:pt x="50" y="65"/>
                  </a:cubicBezTo>
                  <a:cubicBezTo>
                    <a:pt x="44" y="63"/>
                    <a:pt x="38" y="62"/>
                    <a:pt x="32" y="64"/>
                  </a:cubicBezTo>
                  <a:cubicBezTo>
                    <a:pt x="31" y="64"/>
                    <a:pt x="29" y="65"/>
                    <a:pt x="28" y="65"/>
                  </a:cubicBezTo>
                  <a:cubicBezTo>
                    <a:pt x="25" y="67"/>
                    <a:pt x="25" y="67"/>
                    <a:pt x="25" y="67"/>
                  </a:cubicBezTo>
                  <a:lnTo>
                    <a:pt x="25" y="12"/>
                  </a:lnTo>
                  <a:close/>
                  <a:moveTo>
                    <a:pt x="33" y="106"/>
                  </a:moveTo>
                  <a:cubicBezTo>
                    <a:pt x="32" y="111"/>
                    <a:pt x="32" y="111"/>
                    <a:pt x="32" y="111"/>
                  </a:cubicBezTo>
                  <a:cubicBezTo>
                    <a:pt x="32" y="112"/>
                    <a:pt x="32" y="112"/>
                    <a:pt x="32" y="112"/>
                  </a:cubicBezTo>
                  <a:cubicBezTo>
                    <a:pt x="31" y="113"/>
                    <a:pt x="31" y="113"/>
                    <a:pt x="31" y="113"/>
                  </a:cubicBezTo>
                  <a:cubicBezTo>
                    <a:pt x="30" y="113"/>
                    <a:pt x="30" y="113"/>
                    <a:pt x="30" y="113"/>
                  </a:cubicBezTo>
                  <a:cubicBezTo>
                    <a:pt x="20" y="113"/>
                    <a:pt x="20" y="113"/>
                    <a:pt x="20" y="113"/>
                  </a:cubicBezTo>
                  <a:cubicBezTo>
                    <a:pt x="18" y="113"/>
                    <a:pt x="16" y="113"/>
                    <a:pt x="14" y="112"/>
                  </a:cubicBezTo>
                  <a:cubicBezTo>
                    <a:pt x="12" y="111"/>
                    <a:pt x="10" y="110"/>
                    <a:pt x="9" y="109"/>
                  </a:cubicBezTo>
                  <a:cubicBezTo>
                    <a:pt x="7" y="107"/>
                    <a:pt x="6" y="105"/>
                    <a:pt x="5" y="103"/>
                  </a:cubicBezTo>
                  <a:cubicBezTo>
                    <a:pt x="4" y="101"/>
                    <a:pt x="4" y="99"/>
                    <a:pt x="4" y="97"/>
                  </a:cubicBezTo>
                  <a:cubicBezTo>
                    <a:pt x="4" y="95"/>
                    <a:pt x="4" y="92"/>
                    <a:pt x="5" y="91"/>
                  </a:cubicBezTo>
                  <a:cubicBezTo>
                    <a:pt x="6" y="89"/>
                    <a:pt x="7" y="87"/>
                    <a:pt x="8" y="85"/>
                  </a:cubicBezTo>
                  <a:cubicBezTo>
                    <a:pt x="9" y="84"/>
                    <a:pt x="11" y="83"/>
                    <a:pt x="13" y="82"/>
                  </a:cubicBezTo>
                  <a:cubicBezTo>
                    <a:pt x="14" y="81"/>
                    <a:pt x="16" y="80"/>
                    <a:pt x="18" y="80"/>
                  </a:cubicBezTo>
                  <a:cubicBezTo>
                    <a:pt x="18" y="80"/>
                    <a:pt x="19" y="80"/>
                    <a:pt x="19" y="79"/>
                  </a:cubicBezTo>
                  <a:cubicBezTo>
                    <a:pt x="20" y="77"/>
                    <a:pt x="21" y="76"/>
                    <a:pt x="23" y="74"/>
                  </a:cubicBezTo>
                  <a:cubicBezTo>
                    <a:pt x="24" y="73"/>
                    <a:pt x="25" y="72"/>
                    <a:pt x="27" y="71"/>
                  </a:cubicBezTo>
                  <a:cubicBezTo>
                    <a:pt x="29" y="69"/>
                    <a:pt x="31" y="68"/>
                    <a:pt x="33" y="68"/>
                  </a:cubicBezTo>
                  <a:cubicBezTo>
                    <a:pt x="38" y="66"/>
                    <a:pt x="43" y="67"/>
                    <a:pt x="48" y="69"/>
                  </a:cubicBezTo>
                  <a:cubicBezTo>
                    <a:pt x="51" y="70"/>
                    <a:pt x="53" y="71"/>
                    <a:pt x="55" y="73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57" y="75"/>
                    <a:pt x="58" y="76"/>
                    <a:pt x="59" y="77"/>
                  </a:cubicBezTo>
                  <a:cubicBezTo>
                    <a:pt x="59" y="78"/>
                    <a:pt x="59" y="79"/>
                    <a:pt x="60" y="79"/>
                  </a:cubicBezTo>
                  <a:cubicBezTo>
                    <a:pt x="60" y="81"/>
                    <a:pt x="60" y="81"/>
                    <a:pt x="60" y="81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56" y="84"/>
                    <a:pt x="54" y="87"/>
                    <a:pt x="52" y="90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50" y="91"/>
                    <a:pt x="50" y="91"/>
                    <a:pt x="50" y="91"/>
                  </a:cubicBezTo>
                  <a:cubicBezTo>
                    <a:pt x="48" y="92"/>
                    <a:pt x="46" y="92"/>
                    <a:pt x="45" y="93"/>
                  </a:cubicBezTo>
                  <a:cubicBezTo>
                    <a:pt x="42" y="95"/>
                    <a:pt x="40" y="96"/>
                    <a:pt x="38" y="98"/>
                  </a:cubicBezTo>
                  <a:cubicBezTo>
                    <a:pt x="36" y="100"/>
                    <a:pt x="34" y="103"/>
                    <a:pt x="33" y="106"/>
                  </a:cubicBezTo>
                  <a:close/>
                  <a:moveTo>
                    <a:pt x="117" y="126"/>
                  </a:moveTo>
                  <a:cubicBezTo>
                    <a:pt x="116" y="128"/>
                    <a:pt x="115" y="129"/>
                    <a:pt x="114" y="130"/>
                  </a:cubicBezTo>
                  <a:cubicBezTo>
                    <a:pt x="114" y="130"/>
                    <a:pt x="114" y="130"/>
                    <a:pt x="114" y="130"/>
                  </a:cubicBezTo>
                  <a:cubicBezTo>
                    <a:pt x="114" y="131"/>
                    <a:pt x="114" y="131"/>
                    <a:pt x="114" y="131"/>
                  </a:cubicBezTo>
                  <a:cubicBezTo>
                    <a:pt x="112" y="132"/>
                    <a:pt x="110" y="133"/>
                    <a:pt x="109" y="134"/>
                  </a:cubicBezTo>
                  <a:cubicBezTo>
                    <a:pt x="107" y="135"/>
                    <a:pt x="105" y="135"/>
                    <a:pt x="103" y="135"/>
                  </a:cubicBezTo>
                  <a:cubicBezTo>
                    <a:pt x="56" y="135"/>
                    <a:pt x="56" y="135"/>
                    <a:pt x="56" y="135"/>
                  </a:cubicBezTo>
                  <a:cubicBezTo>
                    <a:pt x="53" y="135"/>
                    <a:pt x="50" y="135"/>
                    <a:pt x="48" y="134"/>
                  </a:cubicBezTo>
                  <a:cubicBezTo>
                    <a:pt x="46" y="133"/>
                    <a:pt x="43" y="131"/>
                    <a:pt x="42" y="130"/>
                  </a:cubicBezTo>
                  <a:cubicBezTo>
                    <a:pt x="41" y="129"/>
                    <a:pt x="41" y="129"/>
                    <a:pt x="41" y="129"/>
                  </a:cubicBezTo>
                  <a:cubicBezTo>
                    <a:pt x="39" y="127"/>
                    <a:pt x="38" y="125"/>
                    <a:pt x="37" y="123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6" y="120"/>
                    <a:pt x="35" y="118"/>
                    <a:pt x="35" y="115"/>
                  </a:cubicBezTo>
                  <a:cubicBezTo>
                    <a:pt x="35" y="112"/>
                    <a:pt x="36" y="110"/>
                    <a:pt x="37" y="107"/>
                  </a:cubicBezTo>
                  <a:cubicBezTo>
                    <a:pt x="38" y="105"/>
                    <a:pt x="39" y="103"/>
                    <a:pt x="41" y="101"/>
                  </a:cubicBezTo>
                  <a:cubicBezTo>
                    <a:pt x="43" y="99"/>
                    <a:pt x="44" y="98"/>
                    <a:pt x="46" y="97"/>
                  </a:cubicBezTo>
                  <a:cubicBezTo>
                    <a:pt x="48" y="96"/>
                    <a:pt x="50" y="95"/>
                    <a:pt x="52" y="95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7" y="89"/>
                    <a:pt x="60" y="86"/>
                    <a:pt x="64" y="83"/>
                  </a:cubicBezTo>
                  <a:cubicBezTo>
                    <a:pt x="66" y="82"/>
                    <a:pt x="68" y="80"/>
                    <a:pt x="71" y="80"/>
                  </a:cubicBezTo>
                  <a:cubicBezTo>
                    <a:pt x="73" y="79"/>
                    <a:pt x="76" y="79"/>
                    <a:pt x="79" y="79"/>
                  </a:cubicBezTo>
                  <a:cubicBezTo>
                    <a:pt x="90" y="79"/>
                    <a:pt x="99" y="85"/>
                    <a:pt x="104" y="95"/>
                  </a:cubicBezTo>
                  <a:cubicBezTo>
                    <a:pt x="105" y="97"/>
                    <a:pt x="106" y="101"/>
                    <a:pt x="106" y="104"/>
                  </a:cubicBezTo>
                  <a:cubicBezTo>
                    <a:pt x="106" y="105"/>
                    <a:pt x="107" y="105"/>
                    <a:pt x="108" y="105"/>
                  </a:cubicBezTo>
                  <a:cubicBezTo>
                    <a:pt x="109" y="106"/>
                    <a:pt x="110" y="107"/>
                    <a:pt x="111" y="107"/>
                  </a:cubicBezTo>
                  <a:cubicBezTo>
                    <a:pt x="114" y="109"/>
                    <a:pt x="114" y="109"/>
                    <a:pt x="114" y="109"/>
                  </a:cubicBezTo>
                  <a:cubicBezTo>
                    <a:pt x="114" y="109"/>
                    <a:pt x="115" y="111"/>
                    <a:pt x="115" y="111"/>
                  </a:cubicBezTo>
                  <a:cubicBezTo>
                    <a:pt x="117" y="113"/>
                    <a:pt x="117" y="113"/>
                    <a:pt x="117" y="113"/>
                  </a:cubicBezTo>
                  <a:cubicBezTo>
                    <a:pt x="117" y="113"/>
                    <a:pt x="117" y="113"/>
                    <a:pt x="117" y="113"/>
                  </a:cubicBezTo>
                  <a:cubicBezTo>
                    <a:pt x="117" y="115"/>
                    <a:pt x="117" y="115"/>
                    <a:pt x="117" y="115"/>
                  </a:cubicBezTo>
                  <a:cubicBezTo>
                    <a:pt x="117" y="116"/>
                    <a:pt x="117" y="116"/>
                    <a:pt x="117" y="116"/>
                  </a:cubicBezTo>
                  <a:cubicBezTo>
                    <a:pt x="118" y="116"/>
                    <a:pt x="118" y="116"/>
                    <a:pt x="118" y="116"/>
                  </a:cubicBezTo>
                  <a:cubicBezTo>
                    <a:pt x="118" y="117"/>
                    <a:pt x="118" y="119"/>
                    <a:pt x="118" y="120"/>
                  </a:cubicBezTo>
                  <a:cubicBezTo>
                    <a:pt x="118" y="122"/>
                    <a:pt x="118" y="124"/>
                    <a:pt x="117" y="126"/>
                  </a:cubicBezTo>
                  <a:close/>
                  <a:moveTo>
                    <a:pt x="149" y="103"/>
                  </a:moveTo>
                  <a:cubicBezTo>
                    <a:pt x="148" y="105"/>
                    <a:pt x="147" y="107"/>
                    <a:pt x="145" y="108"/>
                  </a:cubicBezTo>
                  <a:cubicBezTo>
                    <a:pt x="143" y="110"/>
                    <a:pt x="142" y="111"/>
                    <a:pt x="140" y="112"/>
                  </a:cubicBezTo>
                  <a:cubicBezTo>
                    <a:pt x="138" y="113"/>
                    <a:pt x="135" y="113"/>
                    <a:pt x="133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0" y="112"/>
                    <a:pt x="120" y="112"/>
                    <a:pt x="120" y="112"/>
                  </a:cubicBezTo>
                  <a:cubicBezTo>
                    <a:pt x="119" y="110"/>
                    <a:pt x="119" y="110"/>
                    <a:pt x="119" y="110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6" y="106"/>
                    <a:pt x="115" y="105"/>
                    <a:pt x="114" y="104"/>
                  </a:cubicBezTo>
                  <a:cubicBezTo>
                    <a:pt x="113" y="104"/>
                    <a:pt x="112" y="103"/>
                    <a:pt x="111" y="103"/>
                  </a:cubicBezTo>
                  <a:cubicBezTo>
                    <a:pt x="110" y="102"/>
                    <a:pt x="110" y="102"/>
                    <a:pt x="110" y="102"/>
                  </a:cubicBezTo>
                  <a:cubicBezTo>
                    <a:pt x="110" y="101"/>
                    <a:pt x="110" y="101"/>
                    <a:pt x="110" y="101"/>
                  </a:cubicBezTo>
                  <a:cubicBezTo>
                    <a:pt x="110" y="99"/>
                    <a:pt x="109" y="96"/>
                    <a:pt x="108" y="94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6" y="90"/>
                    <a:pt x="104" y="87"/>
                    <a:pt x="101" y="84"/>
                  </a:cubicBezTo>
                  <a:cubicBezTo>
                    <a:pt x="101" y="84"/>
                    <a:pt x="101" y="84"/>
                    <a:pt x="101" y="84"/>
                  </a:cubicBezTo>
                  <a:cubicBezTo>
                    <a:pt x="100" y="82"/>
                    <a:pt x="98" y="81"/>
                    <a:pt x="97" y="80"/>
                  </a:cubicBezTo>
                  <a:cubicBezTo>
                    <a:pt x="94" y="79"/>
                    <a:pt x="94" y="79"/>
                    <a:pt x="94" y="79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96" y="76"/>
                    <a:pt x="97" y="75"/>
                    <a:pt x="98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100" y="71"/>
                    <a:pt x="103" y="70"/>
                    <a:pt x="105" y="69"/>
                  </a:cubicBezTo>
                  <a:cubicBezTo>
                    <a:pt x="110" y="67"/>
                    <a:pt x="116" y="66"/>
                    <a:pt x="121" y="68"/>
                  </a:cubicBezTo>
                  <a:cubicBezTo>
                    <a:pt x="123" y="68"/>
                    <a:pt x="125" y="69"/>
                    <a:pt x="127" y="71"/>
                  </a:cubicBezTo>
                  <a:cubicBezTo>
                    <a:pt x="128" y="72"/>
                    <a:pt x="129" y="73"/>
                    <a:pt x="131" y="74"/>
                  </a:cubicBezTo>
                  <a:cubicBezTo>
                    <a:pt x="131" y="75"/>
                    <a:pt x="131" y="75"/>
                    <a:pt x="131" y="75"/>
                  </a:cubicBezTo>
                  <a:cubicBezTo>
                    <a:pt x="132" y="76"/>
                    <a:pt x="133" y="77"/>
                    <a:pt x="134" y="79"/>
                  </a:cubicBezTo>
                  <a:cubicBezTo>
                    <a:pt x="134" y="80"/>
                    <a:pt x="135" y="80"/>
                    <a:pt x="136" y="80"/>
                  </a:cubicBezTo>
                  <a:cubicBezTo>
                    <a:pt x="137" y="80"/>
                    <a:pt x="139" y="81"/>
                    <a:pt x="141" y="82"/>
                  </a:cubicBezTo>
                  <a:cubicBezTo>
                    <a:pt x="143" y="83"/>
                    <a:pt x="144" y="84"/>
                    <a:pt x="145" y="85"/>
                  </a:cubicBezTo>
                  <a:cubicBezTo>
                    <a:pt x="147" y="87"/>
                    <a:pt x="148" y="89"/>
                    <a:pt x="149" y="90"/>
                  </a:cubicBezTo>
                  <a:cubicBezTo>
                    <a:pt x="149" y="92"/>
                    <a:pt x="150" y="94"/>
                    <a:pt x="150" y="97"/>
                  </a:cubicBezTo>
                  <a:cubicBezTo>
                    <a:pt x="150" y="99"/>
                    <a:pt x="149" y="101"/>
                    <a:pt x="149" y="103"/>
                  </a:cubicBezTo>
                  <a:close/>
                </a:path>
              </a:pathLst>
            </a:custGeom>
            <a:solidFill>
              <a:srgbClr val="3F96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cxnSp>
          <p:nvCxnSpPr>
            <p:cNvPr id="68" name="Gerade Verbindung 67"/>
            <p:cNvCxnSpPr/>
            <p:nvPr/>
          </p:nvCxnSpPr>
          <p:spPr>
            <a:xfrm flipH="1">
              <a:off x="5916574" y="1879460"/>
              <a:ext cx="3941961" cy="1245662"/>
            </a:xfrm>
            <a:prstGeom prst="line">
              <a:avLst/>
            </a:prstGeom>
            <a:ln w="19050">
              <a:solidFill>
                <a:srgbClr val="3F96CE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/>
          </p:nvCxnSpPr>
          <p:spPr>
            <a:xfrm flipV="1">
              <a:off x="5916573" y="3028226"/>
              <a:ext cx="4432933" cy="310934"/>
            </a:xfrm>
            <a:prstGeom prst="line">
              <a:avLst/>
            </a:prstGeom>
            <a:ln w="19050">
              <a:solidFill>
                <a:srgbClr val="3F96CE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/>
          </p:nvCxnSpPr>
          <p:spPr>
            <a:xfrm flipH="1" flipV="1">
              <a:off x="5916573" y="3396439"/>
              <a:ext cx="2655137" cy="2025215"/>
            </a:xfrm>
            <a:prstGeom prst="line">
              <a:avLst/>
            </a:prstGeom>
            <a:ln w="19050">
              <a:solidFill>
                <a:srgbClr val="3F96CE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" name="Gruppieren 22"/>
            <p:cNvGrpSpPr/>
            <p:nvPr/>
          </p:nvGrpSpPr>
          <p:grpSpPr>
            <a:xfrm>
              <a:off x="9941658" y="3720472"/>
              <a:ext cx="626983" cy="679233"/>
              <a:chOff x="9545043" y="3615372"/>
              <a:chExt cx="626983" cy="679233"/>
            </a:xfrm>
          </p:grpSpPr>
          <p:sp>
            <p:nvSpPr>
              <p:cNvPr id="97" name="Freeform 43"/>
              <p:cNvSpPr>
                <a:spLocks noEditPoints="1"/>
              </p:cNvSpPr>
              <p:nvPr/>
            </p:nvSpPr>
            <p:spPr bwMode="auto">
              <a:xfrm>
                <a:off x="9545043" y="3959738"/>
                <a:ext cx="626983" cy="334867"/>
              </a:xfrm>
              <a:custGeom>
                <a:avLst/>
                <a:gdLst>
                  <a:gd name="T0" fmla="*/ 95 w 112"/>
                  <a:gd name="T1" fmla="*/ 3 h 60"/>
                  <a:gd name="T2" fmla="*/ 66 w 112"/>
                  <a:gd name="T3" fmla="*/ 16 h 60"/>
                  <a:gd name="T4" fmla="*/ 42 w 112"/>
                  <a:gd name="T5" fmla="*/ 11 h 60"/>
                  <a:gd name="T6" fmla="*/ 12 w 112"/>
                  <a:gd name="T7" fmla="*/ 3 h 60"/>
                  <a:gd name="T8" fmla="*/ 4 w 112"/>
                  <a:gd name="T9" fmla="*/ 40 h 60"/>
                  <a:gd name="T10" fmla="*/ 40 w 112"/>
                  <a:gd name="T11" fmla="*/ 60 h 60"/>
                  <a:gd name="T12" fmla="*/ 103 w 112"/>
                  <a:gd name="T13" fmla="*/ 43 h 60"/>
                  <a:gd name="T14" fmla="*/ 105 w 112"/>
                  <a:gd name="T15" fmla="*/ 37 h 60"/>
                  <a:gd name="T16" fmla="*/ 89 w 112"/>
                  <a:gd name="T17" fmla="*/ 40 h 60"/>
                  <a:gd name="T18" fmla="*/ 89 w 112"/>
                  <a:gd name="T19" fmla="*/ 40 h 60"/>
                  <a:gd name="T20" fmla="*/ 89 w 112"/>
                  <a:gd name="T21" fmla="*/ 39 h 60"/>
                  <a:gd name="T22" fmla="*/ 89 w 112"/>
                  <a:gd name="T23" fmla="*/ 39 h 60"/>
                  <a:gd name="T24" fmla="*/ 89 w 112"/>
                  <a:gd name="T25" fmla="*/ 39 h 60"/>
                  <a:gd name="T26" fmla="*/ 89 w 112"/>
                  <a:gd name="T27" fmla="*/ 38 h 60"/>
                  <a:gd name="T28" fmla="*/ 88 w 112"/>
                  <a:gd name="T29" fmla="*/ 38 h 60"/>
                  <a:gd name="T30" fmla="*/ 88 w 112"/>
                  <a:gd name="T31" fmla="*/ 38 h 60"/>
                  <a:gd name="T32" fmla="*/ 88 w 112"/>
                  <a:gd name="T33" fmla="*/ 37 h 60"/>
                  <a:gd name="T34" fmla="*/ 80 w 112"/>
                  <a:gd name="T35" fmla="*/ 26 h 60"/>
                  <a:gd name="T36" fmla="*/ 71 w 112"/>
                  <a:gd name="T37" fmla="*/ 16 h 60"/>
                  <a:gd name="T38" fmla="*/ 71 w 112"/>
                  <a:gd name="T39" fmla="*/ 15 h 60"/>
                  <a:gd name="T40" fmla="*/ 95 w 112"/>
                  <a:gd name="T41" fmla="*/ 14 h 60"/>
                  <a:gd name="T42" fmla="*/ 108 w 112"/>
                  <a:gd name="T43" fmla="*/ 25 h 60"/>
                  <a:gd name="T44" fmla="*/ 82 w 112"/>
                  <a:gd name="T45" fmla="*/ 54 h 60"/>
                  <a:gd name="T46" fmla="*/ 31 w 112"/>
                  <a:gd name="T47" fmla="*/ 53 h 60"/>
                  <a:gd name="T48" fmla="*/ 30 w 112"/>
                  <a:gd name="T49" fmla="*/ 34 h 60"/>
                  <a:gd name="T50" fmla="*/ 39 w 112"/>
                  <a:gd name="T51" fmla="*/ 29 h 60"/>
                  <a:gd name="T52" fmla="*/ 39 w 112"/>
                  <a:gd name="T53" fmla="*/ 29 h 60"/>
                  <a:gd name="T54" fmla="*/ 39 w 112"/>
                  <a:gd name="T55" fmla="*/ 29 h 60"/>
                  <a:gd name="T56" fmla="*/ 39 w 112"/>
                  <a:gd name="T57" fmla="*/ 29 h 60"/>
                  <a:gd name="T58" fmla="*/ 40 w 112"/>
                  <a:gd name="T59" fmla="*/ 29 h 60"/>
                  <a:gd name="T60" fmla="*/ 40 w 112"/>
                  <a:gd name="T61" fmla="*/ 29 h 60"/>
                  <a:gd name="T62" fmla="*/ 40 w 112"/>
                  <a:gd name="T63" fmla="*/ 28 h 60"/>
                  <a:gd name="T64" fmla="*/ 40 w 112"/>
                  <a:gd name="T65" fmla="*/ 28 h 60"/>
                  <a:gd name="T66" fmla="*/ 40 w 112"/>
                  <a:gd name="T67" fmla="*/ 28 h 60"/>
                  <a:gd name="T68" fmla="*/ 40 w 112"/>
                  <a:gd name="T69" fmla="*/ 28 h 60"/>
                  <a:gd name="T70" fmla="*/ 76 w 112"/>
                  <a:gd name="T71" fmla="*/ 35 h 60"/>
                  <a:gd name="T72" fmla="*/ 81 w 112"/>
                  <a:gd name="T73" fmla="*/ 39 h 60"/>
                  <a:gd name="T74" fmla="*/ 82 w 112"/>
                  <a:gd name="T75" fmla="*/ 39 h 60"/>
                  <a:gd name="T76" fmla="*/ 82 w 112"/>
                  <a:gd name="T77" fmla="*/ 39 h 60"/>
                  <a:gd name="T78" fmla="*/ 82 w 112"/>
                  <a:gd name="T79" fmla="*/ 40 h 60"/>
                  <a:gd name="T80" fmla="*/ 82 w 112"/>
                  <a:gd name="T81" fmla="*/ 40 h 60"/>
                  <a:gd name="T82" fmla="*/ 84 w 112"/>
                  <a:gd name="T83" fmla="*/ 41 h 60"/>
                  <a:gd name="T84" fmla="*/ 84 w 112"/>
                  <a:gd name="T85" fmla="*/ 42 h 60"/>
                  <a:gd name="T86" fmla="*/ 84 w 112"/>
                  <a:gd name="T87" fmla="*/ 42 h 60"/>
                  <a:gd name="T88" fmla="*/ 84 w 112"/>
                  <a:gd name="T89" fmla="*/ 42 h 60"/>
                  <a:gd name="T90" fmla="*/ 84 w 112"/>
                  <a:gd name="T91" fmla="*/ 42 h 60"/>
                  <a:gd name="T92" fmla="*/ 84 w 112"/>
                  <a:gd name="T93" fmla="*/ 43 h 60"/>
                  <a:gd name="T94" fmla="*/ 85 w 112"/>
                  <a:gd name="T95" fmla="*/ 43 h 60"/>
                  <a:gd name="T96" fmla="*/ 22 w 112"/>
                  <a:gd name="T97" fmla="*/ 36 h 60"/>
                  <a:gd name="T98" fmla="*/ 22 w 112"/>
                  <a:gd name="T99" fmla="*/ 36 h 60"/>
                  <a:gd name="T100" fmla="*/ 22 w 112"/>
                  <a:gd name="T101" fmla="*/ 37 h 60"/>
                  <a:gd name="T102" fmla="*/ 22 w 112"/>
                  <a:gd name="T103" fmla="*/ 37 h 60"/>
                  <a:gd name="T104" fmla="*/ 22 w 112"/>
                  <a:gd name="T105" fmla="*/ 37 h 60"/>
                  <a:gd name="T106" fmla="*/ 22 w 112"/>
                  <a:gd name="T107" fmla="*/ 38 h 60"/>
                  <a:gd name="T108" fmla="*/ 21 w 112"/>
                  <a:gd name="T109" fmla="*/ 38 h 60"/>
                  <a:gd name="T110" fmla="*/ 21 w 112"/>
                  <a:gd name="T111" fmla="*/ 38 h 60"/>
                  <a:gd name="T112" fmla="*/ 21 w 112"/>
                  <a:gd name="T113" fmla="*/ 39 h 60"/>
                  <a:gd name="T114" fmla="*/ 21 w 112"/>
                  <a:gd name="T115" fmla="*/ 39 h 60"/>
                  <a:gd name="T116" fmla="*/ 21 w 112"/>
                  <a:gd name="T117" fmla="*/ 40 h 60"/>
                  <a:gd name="T118" fmla="*/ 21 w 112"/>
                  <a:gd name="T119" fmla="*/ 40 h 60"/>
                  <a:gd name="T120" fmla="*/ 3 w 112"/>
                  <a:gd name="T121" fmla="*/ 29 h 60"/>
                  <a:gd name="T122" fmla="*/ 17 w 112"/>
                  <a:gd name="T123" fmla="*/ 14 h 60"/>
                  <a:gd name="T124" fmla="*/ 41 w 112"/>
                  <a:gd name="T125" fmla="*/ 1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2" h="60">
                    <a:moveTo>
                      <a:pt x="111" y="24"/>
                    </a:moveTo>
                    <a:cubicBezTo>
                      <a:pt x="111" y="22"/>
                      <a:pt x="110" y="21"/>
                      <a:pt x="108" y="19"/>
                    </a:cubicBezTo>
                    <a:cubicBezTo>
                      <a:pt x="107" y="18"/>
                      <a:pt x="106" y="17"/>
                      <a:pt x="104" y="16"/>
                    </a:cubicBezTo>
                    <a:cubicBezTo>
                      <a:pt x="103" y="16"/>
                      <a:pt x="103" y="16"/>
                      <a:pt x="102" y="15"/>
                    </a:cubicBezTo>
                    <a:cubicBezTo>
                      <a:pt x="100" y="15"/>
                      <a:pt x="100" y="15"/>
                      <a:pt x="100" y="15"/>
                    </a:cubicBezTo>
                    <a:cubicBezTo>
                      <a:pt x="100" y="3"/>
                      <a:pt x="100" y="3"/>
                      <a:pt x="100" y="3"/>
                    </a:cubicBezTo>
                    <a:cubicBezTo>
                      <a:pt x="100" y="1"/>
                      <a:pt x="99" y="0"/>
                      <a:pt x="97" y="0"/>
                    </a:cubicBezTo>
                    <a:cubicBezTo>
                      <a:pt x="96" y="0"/>
                      <a:pt x="95" y="1"/>
                      <a:pt x="95" y="3"/>
                    </a:cubicBezTo>
                    <a:cubicBezTo>
                      <a:pt x="95" y="8"/>
                      <a:pt x="95" y="8"/>
                      <a:pt x="95" y="8"/>
                    </a:cubicBezTo>
                    <a:cubicBezTo>
                      <a:pt x="91" y="7"/>
                      <a:pt x="91" y="7"/>
                      <a:pt x="91" y="7"/>
                    </a:cubicBezTo>
                    <a:cubicBezTo>
                      <a:pt x="91" y="6"/>
                      <a:pt x="90" y="6"/>
                      <a:pt x="89" y="6"/>
                    </a:cubicBezTo>
                    <a:cubicBezTo>
                      <a:pt x="85" y="5"/>
                      <a:pt x="80" y="5"/>
                      <a:pt x="76" y="6"/>
                    </a:cubicBezTo>
                    <a:cubicBezTo>
                      <a:pt x="74" y="7"/>
                      <a:pt x="72" y="9"/>
                      <a:pt x="70" y="11"/>
                    </a:cubicBezTo>
                    <a:cubicBezTo>
                      <a:pt x="70" y="11"/>
                      <a:pt x="70" y="11"/>
                      <a:pt x="70" y="11"/>
                    </a:cubicBezTo>
                    <a:cubicBezTo>
                      <a:pt x="69" y="12"/>
                      <a:pt x="69" y="12"/>
                      <a:pt x="68" y="13"/>
                    </a:cubicBezTo>
                    <a:cubicBezTo>
                      <a:pt x="66" y="16"/>
                      <a:pt x="66" y="16"/>
                      <a:pt x="66" y="16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60" y="13"/>
                      <a:pt x="53" y="14"/>
                      <a:pt x="48" y="16"/>
                    </a:cubicBezTo>
                    <a:cubicBezTo>
                      <a:pt x="46" y="17"/>
                      <a:pt x="46" y="17"/>
                      <a:pt x="46" y="17"/>
                    </a:cubicBezTo>
                    <a:cubicBezTo>
                      <a:pt x="45" y="15"/>
                      <a:pt x="45" y="15"/>
                      <a:pt x="45" y="15"/>
                    </a:cubicBezTo>
                    <a:cubicBezTo>
                      <a:pt x="45" y="15"/>
                      <a:pt x="45" y="15"/>
                      <a:pt x="45" y="14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44" y="14"/>
                      <a:pt x="44" y="14"/>
                      <a:pt x="44" y="14"/>
                    </a:cubicBezTo>
                    <a:cubicBezTo>
                      <a:pt x="44" y="13"/>
                      <a:pt x="43" y="12"/>
                      <a:pt x="42" y="11"/>
                    </a:cubicBezTo>
                    <a:cubicBezTo>
                      <a:pt x="42" y="11"/>
                      <a:pt x="42" y="11"/>
                      <a:pt x="42" y="11"/>
                    </a:cubicBezTo>
                    <a:cubicBezTo>
                      <a:pt x="40" y="9"/>
                      <a:pt x="38" y="7"/>
                      <a:pt x="35" y="6"/>
                    </a:cubicBezTo>
                    <a:cubicBezTo>
                      <a:pt x="31" y="5"/>
                      <a:pt x="27" y="5"/>
                      <a:pt x="23" y="6"/>
                    </a:cubicBezTo>
                    <a:cubicBezTo>
                      <a:pt x="22" y="6"/>
                      <a:pt x="21" y="6"/>
                      <a:pt x="20" y="7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7" y="1"/>
                      <a:pt x="16" y="0"/>
                      <a:pt x="14" y="0"/>
                    </a:cubicBezTo>
                    <a:cubicBezTo>
                      <a:pt x="13" y="0"/>
                      <a:pt x="12" y="1"/>
                      <a:pt x="12" y="3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9" y="16"/>
                      <a:pt x="8" y="16"/>
                      <a:pt x="8" y="16"/>
                    </a:cubicBezTo>
                    <a:cubicBezTo>
                      <a:pt x="6" y="17"/>
                      <a:pt x="5" y="18"/>
                      <a:pt x="4" y="19"/>
                    </a:cubicBezTo>
                    <a:cubicBezTo>
                      <a:pt x="2" y="21"/>
                      <a:pt x="1" y="22"/>
                      <a:pt x="1" y="24"/>
                    </a:cubicBezTo>
                    <a:cubicBezTo>
                      <a:pt x="0" y="26"/>
                      <a:pt x="0" y="28"/>
                      <a:pt x="0" y="29"/>
                    </a:cubicBezTo>
                    <a:cubicBezTo>
                      <a:pt x="0" y="31"/>
                      <a:pt x="0" y="33"/>
                      <a:pt x="1" y="35"/>
                    </a:cubicBezTo>
                    <a:cubicBezTo>
                      <a:pt x="1" y="37"/>
                      <a:pt x="2" y="38"/>
                      <a:pt x="4" y="40"/>
                    </a:cubicBezTo>
                    <a:cubicBezTo>
                      <a:pt x="5" y="41"/>
                      <a:pt x="7" y="42"/>
                      <a:pt x="8" y="43"/>
                    </a:cubicBezTo>
                    <a:cubicBezTo>
                      <a:pt x="10" y="43"/>
                      <a:pt x="12" y="44"/>
                      <a:pt x="14" y="44"/>
                    </a:cubicBezTo>
                    <a:cubicBezTo>
                      <a:pt x="23" y="44"/>
                      <a:pt x="23" y="44"/>
                      <a:pt x="23" y="44"/>
                    </a:cubicBezTo>
                    <a:cubicBezTo>
                      <a:pt x="23" y="46"/>
                      <a:pt x="23" y="46"/>
                      <a:pt x="23" y="46"/>
                    </a:cubicBezTo>
                    <a:cubicBezTo>
                      <a:pt x="23" y="47"/>
                      <a:pt x="24" y="48"/>
                      <a:pt x="24" y="50"/>
                    </a:cubicBezTo>
                    <a:cubicBezTo>
                      <a:pt x="25" y="52"/>
                      <a:pt x="27" y="54"/>
                      <a:pt x="28" y="55"/>
                    </a:cubicBezTo>
                    <a:cubicBezTo>
                      <a:pt x="30" y="57"/>
                      <a:pt x="32" y="58"/>
                      <a:pt x="34" y="59"/>
                    </a:cubicBezTo>
                    <a:cubicBezTo>
                      <a:pt x="36" y="60"/>
                      <a:pt x="38" y="60"/>
                      <a:pt x="40" y="60"/>
                    </a:cubicBezTo>
                    <a:cubicBezTo>
                      <a:pt x="75" y="60"/>
                      <a:pt x="75" y="60"/>
                      <a:pt x="75" y="60"/>
                    </a:cubicBezTo>
                    <a:cubicBezTo>
                      <a:pt x="77" y="60"/>
                      <a:pt x="79" y="60"/>
                      <a:pt x="80" y="59"/>
                    </a:cubicBezTo>
                    <a:cubicBezTo>
                      <a:pt x="82" y="59"/>
                      <a:pt x="83" y="58"/>
                      <a:pt x="85" y="56"/>
                    </a:cubicBezTo>
                    <a:cubicBezTo>
                      <a:pt x="86" y="55"/>
                      <a:pt x="87" y="54"/>
                      <a:pt x="88" y="52"/>
                    </a:cubicBezTo>
                    <a:cubicBezTo>
                      <a:pt x="88" y="50"/>
                      <a:pt x="89" y="48"/>
                      <a:pt x="89" y="47"/>
                    </a:cubicBezTo>
                    <a:cubicBezTo>
                      <a:pt x="89" y="44"/>
                      <a:pt x="89" y="44"/>
                      <a:pt x="89" y="44"/>
                    </a:cubicBezTo>
                    <a:cubicBezTo>
                      <a:pt x="98" y="44"/>
                      <a:pt x="98" y="44"/>
                      <a:pt x="98" y="44"/>
                    </a:cubicBezTo>
                    <a:cubicBezTo>
                      <a:pt x="100" y="44"/>
                      <a:pt x="102" y="43"/>
                      <a:pt x="103" y="43"/>
                    </a:cubicBezTo>
                    <a:cubicBezTo>
                      <a:pt x="105" y="42"/>
                      <a:pt x="107" y="41"/>
                      <a:pt x="108" y="40"/>
                    </a:cubicBezTo>
                    <a:cubicBezTo>
                      <a:pt x="109" y="38"/>
                      <a:pt x="110" y="37"/>
                      <a:pt x="111" y="35"/>
                    </a:cubicBezTo>
                    <a:cubicBezTo>
                      <a:pt x="112" y="33"/>
                      <a:pt x="112" y="31"/>
                      <a:pt x="112" y="29"/>
                    </a:cubicBezTo>
                    <a:cubicBezTo>
                      <a:pt x="112" y="28"/>
                      <a:pt x="112" y="26"/>
                      <a:pt x="111" y="24"/>
                    </a:cubicBezTo>
                    <a:close/>
                    <a:moveTo>
                      <a:pt x="108" y="33"/>
                    </a:moveTo>
                    <a:cubicBezTo>
                      <a:pt x="107" y="35"/>
                      <a:pt x="106" y="36"/>
                      <a:pt x="105" y="37"/>
                    </a:cubicBezTo>
                    <a:cubicBezTo>
                      <a:pt x="105" y="37"/>
                      <a:pt x="105" y="37"/>
                      <a:pt x="105" y="37"/>
                    </a:cubicBezTo>
                    <a:cubicBezTo>
                      <a:pt x="105" y="37"/>
                      <a:pt x="105" y="37"/>
                      <a:pt x="105" y="37"/>
                    </a:cubicBezTo>
                    <a:cubicBezTo>
                      <a:pt x="104" y="38"/>
                      <a:pt x="103" y="39"/>
                      <a:pt x="102" y="39"/>
                    </a:cubicBezTo>
                    <a:cubicBezTo>
                      <a:pt x="102" y="39"/>
                      <a:pt x="102" y="39"/>
                      <a:pt x="102" y="39"/>
                    </a:cubicBezTo>
                    <a:cubicBezTo>
                      <a:pt x="101" y="40"/>
                      <a:pt x="99" y="40"/>
                      <a:pt x="98" y="40"/>
                    </a:cubicBezTo>
                    <a:cubicBezTo>
                      <a:pt x="90" y="40"/>
                      <a:pt x="90" y="40"/>
                      <a:pt x="90" y="40"/>
                    </a:cubicBezTo>
                    <a:cubicBezTo>
                      <a:pt x="89" y="40"/>
                      <a:pt x="89" y="40"/>
                      <a:pt x="89" y="40"/>
                    </a:cubicBezTo>
                    <a:cubicBezTo>
                      <a:pt x="89" y="40"/>
                      <a:pt x="89" y="40"/>
                      <a:pt x="89" y="40"/>
                    </a:cubicBezTo>
                    <a:cubicBezTo>
                      <a:pt x="89" y="40"/>
                      <a:pt x="89" y="40"/>
                      <a:pt x="89" y="40"/>
                    </a:cubicBezTo>
                    <a:cubicBezTo>
                      <a:pt x="89" y="40"/>
                      <a:pt x="89" y="40"/>
                      <a:pt x="89" y="40"/>
                    </a:cubicBezTo>
                    <a:cubicBezTo>
                      <a:pt x="89" y="40"/>
                      <a:pt x="89" y="40"/>
                      <a:pt x="89" y="40"/>
                    </a:cubicBezTo>
                    <a:cubicBezTo>
                      <a:pt x="89" y="40"/>
                      <a:pt x="89" y="40"/>
                      <a:pt x="89" y="40"/>
                    </a:cubicBezTo>
                    <a:cubicBezTo>
                      <a:pt x="89" y="40"/>
                      <a:pt x="89" y="40"/>
                      <a:pt x="89" y="40"/>
                    </a:cubicBezTo>
                    <a:cubicBezTo>
                      <a:pt x="89" y="40"/>
                      <a:pt x="89" y="40"/>
                      <a:pt x="89" y="40"/>
                    </a:cubicBezTo>
                    <a:cubicBezTo>
                      <a:pt x="89" y="40"/>
                      <a:pt x="89" y="40"/>
                      <a:pt x="89" y="40"/>
                    </a:cubicBezTo>
                    <a:cubicBezTo>
                      <a:pt x="89" y="40"/>
                      <a:pt x="89" y="40"/>
                      <a:pt x="89" y="40"/>
                    </a:cubicBezTo>
                    <a:cubicBezTo>
                      <a:pt x="89" y="40"/>
                      <a:pt x="89" y="40"/>
                      <a:pt x="89" y="40"/>
                    </a:cubicBezTo>
                    <a:cubicBezTo>
                      <a:pt x="89" y="40"/>
                      <a:pt x="89" y="40"/>
                      <a:pt x="89" y="40"/>
                    </a:cubicBezTo>
                    <a:cubicBezTo>
                      <a:pt x="89" y="40"/>
                      <a:pt x="89" y="40"/>
                      <a:pt x="89" y="40"/>
                    </a:cubicBezTo>
                    <a:cubicBezTo>
                      <a:pt x="89" y="40"/>
                      <a:pt x="89" y="40"/>
                      <a:pt x="89" y="40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9"/>
                      <a:pt x="89" y="39"/>
                      <a:pt x="89" y="39"/>
                    </a:cubicBezTo>
                    <a:cubicBezTo>
                      <a:pt x="89" y="38"/>
                      <a:pt x="89" y="38"/>
                      <a:pt x="89" y="38"/>
                    </a:cubicBezTo>
                    <a:cubicBezTo>
                      <a:pt x="89" y="38"/>
                      <a:pt x="89" y="38"/>
                      <a:pt x="89" y="38"/>
                    </a:cubicBezTo>
                    <a:cubicBezTo>
                      <a:pt x="89" y="38"/>
                      <a:pt x="89" y="38"/>
                      <a:pt x="89" y="38"/>
                    </a:cubicBezTo>
                    <a:cubicBezTo>
                      <a:pt x="89" y="38"/>
                      <a:pt x="89" y="38"/>
                      <a:pt x="89" y="38"/>
                    </a:cubicBezTo>
                    <a:cubicBezTo>
                      <a:pt x="89" y="38"/>
                      <a:pt x="89" y="38"/>
                      <a:pt x="89" y="38"/>
                    </a:cubicBezTo>
                    <a:cubicBezTo>
                      <a:pt x="89" y="38"/>
                      <a:pt x="89" y="38"/>
                      <a:pt x="89" y="38"/>
                    </a:cubicBezTo>
                    <a:cubicBezTo>
                      <a:pt x="89" y="38"/>
                      <a:pt x="89" y="38"/>
                      <a:pt x="89" y="38"/>
                    </a:cubicBezTo>
                    <a:cubicBezTo>
                      <a:pt x="89" y="38"/>
                      <a:pt x="89" y="38"/>
                      <a:pt x="89" y="38"/>
                    </a:cubicBezTo>
                    <a:cubicBezTo>
                      <a:pt x="89" y="38"/>
                      <a:pt x="89" y="38"/>
                      <a:pt x="89" y="38"/>
                    </a:cubicBezTo>
                    <a:cubicBezTo>
                      <a:pt x="89" y="38"/>
                      <a:pt x="89" y="38"/>
                      <a:pt x="89" y="38"/>
                    </a:cubicBezTo>
                    <a:cubicBezTo>
                      <a:pt x="88" y="38"/>
                      <a:pt x="88" y="38"/>
                      <a:pt x="88" y="38"/>
                    </a:cubicBezTo>
                    <a:cubicBezTo>
                      <a:pt x="88" y="38"/>
                      <a:pt x="88" y="38"/>
                      <a:pt x="88" y="38"/>
                    </a:cubicBezTo>
                    <a:cubicBezTo>
                      <a:pt x="88" y="38"/>
                      <a:pt x="88" y="38"/>
                      <a:pt x="88" y="38"/>
                    </a:cubicBezTo>
                    <a:cubicBezTo>
                      <a:pt x="88" y="38"/>
                      <a:pt x="88" y="38"/>
                      <a:pt x="88" y="38"/>
                    </a:cubicBezTo>
                    <a:cubicBezTo>
                      <a:pt x="88" y="38"/>
                      <a:pt x="88" y="38"/>
                      <a:pt x="88" y="38"/>
                    </a:cubicBezTo>
                    <a:cubicBezTo>
                      <a:pt x="88" y="38"/>
                      <a:pt x="88" y="38"/>
                      <a:pt x="88" y="38"/>
                    </a:cubicBezTo>
                    <a:cubicBezTo>
                      <a:pt x="88" y="38"/>
                      <a:pt x="88" y="38"/>
                      <a:pt x="88" y="38"/>
                    </a:cubicBezTo>
                    <a:cubicBezTo>
                      <a:pt x="88" y="38"/>
                      <a:pt x="88" y="38"/>
                      <a:pt x="88" y="38"/>
                    </a:cubicBezTo>
                    <a:cubicBezTo>
                      <a:pt x="88" y="38"/>
                      <a:pt x="88" y="38"/>
                      <a:pt x="88" y="38"/>
                    </a:cubicBezTo>
                    <a:cubicBezTo>
                      <a:pt x="88" y="38"/>
                      <a:pt x="88" y="38"/>
                      <a:pt x="88" y="38"/>
                    </a:cubicBezTo>
                    <a:cubicBezTo>
                      <a:pt x="88" y="38"/>
                      <a:pt x="88" y="38"/>
                      <a:pt x="88" y="38"/>
                    </a:cubicBezTo>
                    <a:cubicBezTo>
                      <a:pt x="88" y="38"/>
                      <a:pt x="88" y="38"/>
                      <a:pt x="88" y="38"/>
                    </a:cubicBezTo>
                    <a:cubicBezTo>
                      <a:pt x="88" y="38"/>
                      <a:pt x="88" y="38"/>
                      <a:pt x="88" y="38"/>
                    </a:cubicBezTo>
                    <a:cubicBezTo>
                      <a:pt x="88" y="38"/>
                      <a:pt x="88" y="38"/>
                      <a:pt x="88" y="38"/>
                    </a:cubicBezTo>
                    <a:cubicBezTo>
                      <a:pt x="88" y="38"/>
                      <a:pt x="88" y="38"/>
                      <a:pt x="88" y="38"/>
                    </a:cubicBezTo>
                    <a:cubicBezTo>
                      <a:pt x="88" y="38"/>
                      <a:pt x="88" y="38"/>
                      <a:pt x="88" y="38"/>
                    </a:cubicBezTo>
                    <a:cubicBezTo>
                      <a:pt x="88" y="38"/>
                      <a:pt x="88" y="38"/>
                      <a:pt x="88" y="38"/>
                    </a:cubicBezTo>
                    <a:cubicBezTo>
                      <a:pt x="88" y="38"/>
                      <a:pt x="88" y="38"/>
                      <a:pt x="88" y="38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8" y="37"/>
                      <a:pt x="88" y="37"/>
                      <a:pt x="87" y="37"/>
                    </a:cubicBezTo>
                    <a:cubicBezTo>
                      <a:pt x="87" y="37"/>
                      <a:pt x="87" y="37"/>
                      <a:pt x="87" y="37"/>
                    </a:cubicBezTo>
                    <a:cubicBezTo>
                      <a:pt x="86" y="35"/>
                      <a:pt x="85" y="34"/>
                      <a:pt x="84" y="34"/>
                    </a:cubicBezTo>
                    <a:cubicBezTo>
                      <a:pt x="83" y="33"/>
                      <a:pt x="83" y="33"/>
                      <a:pt x="82" y="32"/>
                    </a:cubicBezTo>
                    <a:cubicBezTo>
                      <a:pt x="82" y="30"/>
                      <a:pt x="81" y="28"/>
                      <a:pt x="80" y="26"/>
                    </a:cubicBezTo>
                    <a:cubicBezTo>
                      <a:pt x="80" y="26"/>
                      <a:pt x="80" y="26"/>
                      <a:pt x="80" y="26"/>
                    </a:cubicBezTo>
                    <a:cubicBezTo>
                      <a:pt x="80" y="26"/>
                      <a:pt x="80" y="26"/>
                      <a:pt x="80" y="26"/>
                    </a:cubicBezTo>
                    <a:cubicBezTo>
                      <a:pt x="79" y="23"/>
                      <a:pt x="77" y="21"/>
                      <a:pt x="75" y="19"/>
                    </a:cubicBezTo>
                    <a:cubicBezTo>
                      <a:pt x="75" y="19"/>
                      <a:pt x="75" y="19"/>
                      <a:pt x="75" y="19"/>
                    </a:cubicBezTo>
                    <a:cubicBezTo>
                      <a:pt x="75" y="19"/>
                      <a:pt x="75" y="19"/>
                      <a:pt x="75" y="19"/>
                    </a:cubicBezTo>
                    <a:cubicBezTo>
                      <a:pt x="74" y="18"/>
                      <a:pt x="73" y="17"/>
                      <a:pt x="71" y="16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5"/>
                      <a:pt x="71" y="15"/>
                      <a:pt x="71" y="15"/>
                    </a:cubicBezTo>
                    <a:cubicBezTo>
                      <a:pt x="71" y="15"/>
                      <a:pt x="71" y="15"/>
                      <a:pt x="71" y="15"/>
                    </a:cubicBezTo>
                    <a:cubicBezTo>
                      <a:pt x="72" y="15"/>
                      <a:pt x="72" y="14"/>
                      <a:pt x="73" y="13"/>
                    </a:cubicBezTo>
                    <a:cubicBezTo>
                      <a:pt x="73" y="13"/>
                      <a:pt x="73" y="13"/>
                      <a:pt x="73" y="13"/>
                    </a:cubicBezTo>
                    <a:cubicBezTo>
                      <a:pt x="73" y="13"/>
                      <a:pt x="73" y="13"/>
                      <a:pt x="73" y="13"/>
                    </a:cubicBezTo>
                    <a:cubicBezTo>
                      <a:pt x="74" y="12"/>
                      <a:pt x="76" y="11"/>
                      <a:pt x="78" y="10"/>
                    </a:cubicBezTo>
                    <a:cubicBezTo>
                      <a:pt x="80" y="9"/>
                      <a:pt x="82" y="9"/>
                      <a:pt x="84" y="9"/>
                    </a:cubicBezTo>
                    <a:cubicBezTo>
                      <a:pt x="85" y="9"/>
                      <a:pt x="87" y="9"/>
                      <a:pt x="88" y="9"/>
                    </a:cubicBezTo>
                    <a:cubicBezTo>
                      <a:pt x="89" y="10"/>
                      <a:pt x="91" y="10"/>
                      <a:pt x="92" y="11"/>
                    </a:cubicBezTo>
                    <a:cubicBezTo>
                      <a:pt x="93" y="12"/>
                      <a:pt x="94" y="13"/>
                      <a:pt x="95" y="14"/>
                    </a:cubicBezTo>
                    <a:cubicBezTo>
                      <a:pt x="95" y="14"/>
                      <a:pt x="95" y="14"/>
                      <a:pt x="95" y="14"/>
                    </a:cubicBezTo>
                    <a:cubicBezTo>
                      <a:pt x="95" y="14"/>
                      <a:pt x="95" y="14"/>
                      <a:pt x="95" y="14"/>
                    </a:cubicBezTo>
                    <a:cubicBezTo>
                      <a:pt x="96" y="15"/>
                      <a:pt x="97" y="16"/>
                      <a:pt x="97" y="17"/>
                    </a:cubicBezTo>
                    <a:cubicBezTo>
                      <a:pt x="98" y="18"/>
                      <a:pt x="98" y="18"/>
                      <a:pt x="99" y="19"/>
                    </a:cubicBezTo>
                    <a:cubicBezTo>
                      <a:pt x="101" y="19"/>
                      <a:pt x="102" y="19"/>
                      <a:pt x="103" y="20"/>
                    </a:cubicBezTo>
                    <a:cubicBezTo>
                      <a:pt x="103" y="20"/>
                      <a:pt x="103" y="20"/>
                      <a:pt x="103" y="20"/>
                    </a:cubicBezTo>
                    <a:cubicBezTo>
                      <a:pt x="104" y="20"/>
                      <a:pt x="105" y="21"/>
                      <a:pt x="106" y="22"/>
                    </a:cubicBezTo>
                    <a:cubicBezTo>
                      <a:pt x="107" y="23"/>
                      <a:pt x="107" y="24"/>
                      <a:pt x="108" y="25"/>
                    </a:cubicBezTo>
                    <a:cubicBezTo>
                      <a:pt x="108" y="27"/>
                      <a:pt x="109" y="28"/>
                      <a:pt x="109" y="29"/>
                    </a:cubicBezTo>
                    <a:cubicBezTo>
                      <a:pt x="109" y="31"/>
                      <a:pt x="108" y="32"/>
                      <a:pt x="108" y="33"/>
                    </a:cubicBezTo>
                    <a:close/>
                    <a:moveTo>
                      <a:pt x="84" y="50"/>
                    </a:moveTo>
                    <a:cubicBezTo>
                      <a:pt x="84" y="52"/>
                      <a:pt x="83" y="53"/>
                      <a:pt x="82" y="54"/>
                    </a:cubicBezTo>
                    <a:cubicBezTo>
                      <a:pt x="82" y="54"/>
                      <a:pt x="82" y="54"/>
                      <a:pt x="82" y="54"/>
                    </a:cubicBezTo>
                    <a:cubicBezTo>
                      <a:pt x="82" y="54"/>
                      <a:pt x="82" y="54"/>
                      <a:pt x="82" y="54"/>
                    </a:cubicBezTo>
                    <a:cubicBezTo>
                      <a:pt x="82" y="54"/>
                      <a:pt x="82" y="54"/>
                      <a:pt x="82" y="54"/>
                    </a:cubicBezTo>
                    <a:cubicBezTo>
                      <a:pt x="82" y="54"/>
                      <a:pt x="82" y="54"/>
                      <a:pt x="82" y="54"/>
                    </a:cubicBezTo>
                    <a:cubicBezTo>
                      <a:pt x="82" y="54"/>
                      <a:pt x="82" y="54"/>
                      <a:pt x="82" y="54"/>
                    </a:cubicBezTo>
                    <a:cubicBezTo>
                      <a:pt x="81" y="55"/>
                      <a:pt x="80" y="55"/>
                      <a:pt x="79" y="56"/>
                    </a:cubicBezTo>
                    <a:cubicBezTo>
                      <a:pt x="78" y="56"/>
                      <a:pt x="77" y="57"/>
                      <a:pt x="75" y="57"/>
                    </a:cubicBezTo>
                    <a:cubicBezTo>
                      <a:pt x="75" y="57"/>
                      <a:pt x="75" y="57"/>
                      <a:pt x="75" y="57"/>
                    </a:cubicBezTo>
                    <a:cubicBezTo>
                      <a:pt x="40" y="57"/>
                      <a:pt x="40" y="57"/>
                      <a:pt x="40" y="57"/>
                    </a:cubicBezTo>
                    <a:cubicBezTo>
                      <a:pt x="39" y="57"/>
                      <a:pt x="37" y="56"/>
                      <a:pt x="35" y="56"/>
                    </a:cubicBezTo>
                    <a:cubicBezTo>
                      <a:pt x="35" y="55"/>
                      <a:pt x="35" y="55"/>
                      <a:pt x="35" y="55"/>
                    </a:cubicBezTo>
                    <a:cubicBezTo>
                      <a:pt x="33" y="55"/>
                      <a:pt x="32" y="54"/>
                      <a:pt x="31" y="53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9" y="51"/>
                      <a:pt x="28" y="50"/>
                      <a:pt x="28" y="48"/>
                    </a:cubicBezTo>
                    <a:cubicBezTo>
                      <a:pt x="28" y="48"/>
                      <a:pt x="28" y="48"/>
                      <a:pt x="28" y="48"/>
                    </a:cubicBezTo>
                    <a:cubicBezTo>
                      <a:pt x="27" y="47"/>
                      <a:pt x="27" y="45"/>
                      <a:pt x="27" y="43"/>
                    </a:cubicBezTo>
                    <a:cubicBezTo>
                      <a:pt x="27" y="43"/>
                      <a:pt x="27" y="43"/>
                      <a:pt x="27" y="43"/>
                    </a:cubicBezTo>
                    <a:cubicBezTo>
                      <a:pt x="27" y="41"/>
                      <a:pt x="27" y="39"/>
                      <a:pt x="28" y="38"/>
                    </a:cubicBezTo>
                    <a:cubicBezTo>
                      <a:pt x="28" y="36"/>
                      <a:pt x="29" y="35"/>
                      <a:pt x="30" y="34"/>
                    </a:cubicBezTo>
                    <a:cubicBezTo>
                      <a:pt x="31" y="32"/>
                      <a:pt x="33" y="31"/>
                      <a:pt x="34" y="31"/>
                    </a:cubicBezTo>
                    <a:cubicBezTo>
                      <a:pt x="35" y="30"/>
                      <a:pt x="37" y="30"/>
                      <a:pt x="38" y="29"/>
                    </a:cubicBezTo>
                    <a:cubicBezTo>
                      <a:pt x="38" y="29"/>
                      <a:pt x="38" y="29"/>
                      <a:pt x="38" y="29"/>
                    </a:cubicBezTo>
                    <a:cubicBezTo>
                      <a:pt x="38" y="29"/>
                      <a:pt x="38" y="29"/>
                      <a:pt x="38" y="29"/>
                    </a:cubicBezTo>
                    <a:cubicBezTo>
                      <a:pt x="38" y="29"/>
                      <a:pt x="38" y="29"/>
                      <a:pt x="38" y="29"/>
                    </a:cubicBezTo>
                    <a:cubicBezTo>
                      <a:pt x="38" y="29"/>
                      <a:pt x="38" y="29"/>
                      <a:pt x="38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1" y="28"/>
                      <a:pt x="41" y="28"/>
                      <a:pt x="41" y="28"/>
                    </a:cubicBezTo>
                    <a:cubicBezTo>
                      <a:pt x="42" y="25"/>
                      <a:pt x="44" y="22"/>
                      <a:pt x="47" y="20"/>
                    </a:cubicBezTo>
                    <a:cubicBezTo>
                      <a:pt x="49" y="19"/>
                      <a:pt x="50" y="19"/>
                      <a:pt x="52" y="18"/>
                    </a:cubicBezTo>
                    <a:cubicBezTo>
                      <a:pt x="54" y="18"/>
                      <a:pt x="56" y="17"/>
                      <a:pt x="57" y="17"/>
                    </a:cubicBezTo>
                    <a:cubicBezTo>
                      <a:pt x="65" y="17"/>
                      <a:pt x="72" y="22"/>
                      <a:pt x="75" y="28"/>
                    </a:cubicBezTo>
                    <a:cubicBezTo>
                      <a:pt x="75" y="28"/>
                      <a:pt x="75" y="28"/>
                      <a:pt x="75" y="28"/>
                    </a:cubicBezTo>
                    <a:cubicBezTo>
                      <a:pt x="76" y="30"/>
                      <a:pt x="76" y="33"/>
                      <a:pt x="76" y="35"/>
                    </a:cubicBezTo>
                    <a:cubicBezTo>
                      <a:pt x="77" y="36"/>
                      <a:pt x="77" y="37"/>
                      <a:pt x="78" y="37"/>
                    </a:cubicBezTo>
                    <a:cubicBezTo>
                      <a:pt x="79" y="38"/>
                      <a:pt x="80" y="38"/>
                      <a:pt x="81" y="39"/>
                    </a:cubicBezTo>
                    <a:cubicBezTo>
                      <a:pt x="81" y="39"/>
                      <a:pt x="81" y="39"/>
                      <a:pt x="81" y="39"/>
                    </a:cubicBezTo>
                    <a:cubicBezTo>
                      <a:pt x="81" y="39"/>
                      <a:pt x="81" y="39"/>
                      <a:pt x="81" y="39"/>
                    </a:cubicBezTo>
                    <a:cubicBezTo>
                      <a:pt x="81" y="39"/>
                      <a:pt x="81" y="39"/>
                      <a:pt x="81" y="39"/>
                    </a:cubicBezTo>
                    <a:cubicBezTo>
                      <a:pt x="81" y="39"/>
                      <a:pt x="81" y="39"/>
                      <a:pt x="81" y="39"/>
                    </a:cubicBezTo>
                    <a:cubicBezTo>
                      <a:pt x="81" y="39"/>
                      <a:pt x="81" y="39"/>
                      <a:pt x="81" y="39"/>
                    </a:cubicBezTo>
                    <a:cubicBezTo>
                      <a:pt x="81" y="39"/>
                      <a:pt x="81" y="39"/>
                      <a:pt x="81" y="39"/>
                    </a:cubicBezTo>
                    <a:cubicBezTo>
                      <a:pt x="81" y="39"/>
                      <a:pt x="81" y="39"/>
                      <a:pt x="81" y="39"/>
                    </a:cubicBezTo>
                    <a:cubicBezTo>
                      <a:pt x="81" y="39"/>
                      <a:pt x="81" y="39"/>
                      <a:pt x="81" y="39"/>
                    </a:cubicBezTo>
                    <a:cubicBezTo>
                      <a:pt x="81" y="39"/>
                      <a:pt x="81" y="39"/>
                      <a:pt x="81" y="39"/>
                    </a:cubicBezTo>
                    <a:cubicBezTo>
                      <a:pt x="81" y="39"/>
                      <a:pt x="81" y="39"/>
                      <a:pt x="81" y="39"/>
                    </a:cubicBezTo>
                    <a:cubicBezTo>
                      <a:pt x="81" y="39"/>
                      <a:pt x="81" y="39"/>
                      <a:pt x="81" y="39"/>
                    </a:cubicBezTo>
                    <a:cubicBezTo>
                      <a:pt x="82" y="39"/>
                      <a:pt x="82" y="39"/>
                      <a:pt x="82" y="39"/>
                    </a:cubicBezTo>
                    <a:cubicBezTo>
                      <a:pt x="82" y="39"/>
                      <a:pt x="82" y="39"/>
                      <a:pt x="82" y="39"/>
                    </a:cubicBezTo>
                    <a:cubicBezTo>
                      <a:pt x="82" y="39"/>
                      <a:pt x="82" y="39"/>
                      <a:pt x="82" y="39"/>
                    </a:cubicBezTo>
                    <a:cubicBezTo>
                      <a:pt x="82" y="39"/>
                      <a:pt x="82" y="39"/>
                      <a:pt x="82" y="39"/>
                    </a:cubicBezTo>
                    <a:cubicBezTo>
                      <a:pt x="82" y="39"/>
                      <a:pt x="82" y="39"/>
                      <a:pt x="82" y="39"/>
                    </a:cubicBezTo>
                    <a:cubicBezTo>
                      <a:pt x="82" y="39"/>
                      <a:pt x="82" y="39"/>
                      <a:pt x="82" y="39"/>
                    </a:cubicBezTo>
                    <a:cubicBezTo>
                      <a:pt x="82" y="39"/>
                      <a:pt x="82" y="39"/>
                      <a:pt x="82" y="39"/>
                    </a:cubicBezTo>
                    <a:cubicBezTo>
                      <a:pt x="82" y="39"/>
                      <a:pt x="82" y="39"/>
                      <a:pt x="82" y="39"/>
                    </a:cubicBezTo>
                    <a:cubicBezTo>
                      <a:pt x="82" y="39"/>
                      <a:pt x="82" y="39"/>
                      <a:pt x="82" y="39"/>
                    </a:cubicBezTo>
                    <a:cubicBezTo>
                      <a:pt x="82" y="39"/>
                      <a:pt x="82" y="39"/>
                      <a:pt x="82" y="39"/>
                    </a:cubicBezTo>
                    <a:cubicBezTo>
                      <a:pt x="82" y="39"/>
                      <a:pt x="82" y="39"/>
                      <a:pt x="82" y="39"/>
                    </a:cubicBezTo>
                    <a:cubicBezTo>
                      <a:pt x="82" y="39"/>
                      <a:pt x="82" y="39"/>
                      <a:pt x="82" y="39"/>
                    </a:cubicBezTo>
                    <a:cubicBezTo>
                      <a:pt x="82" y="39"/>
                      <a:pt x="82" y="39"/>
                      <a:pt x="82" y="39"/>
                    </a:cubicBezTo>
                    <a:cubicBezTo>
                      <a:pt x="82" y="40"/>
                      <a:pt x="82" y="40"/>
                      <a:pt x="82" y="40"/>
                    </a:cubicBezTo>
                    <a:cubicBezTo>
                      <a:pt x="82" y="40"/>
                      <a:pt x="82" y="40"/>
                      <a:pt x="82" y="40"/>
                    </a:cubicBezTo>
                    <a:cubicBezTo>
                      <a:pt x="82" y="40"/>
                      <a:pt x="82" y="40"/>
                      <a:pt x="82" y="40"/>
                    </a:cubicBezTo>
                    <a:cubicBezTo>
                      <a:pt x="82" y="40"/>
                      <a:pt x="82" y="40"/>
                      <a:pt x="82" y="40"/>
                    </a:cubicBezTo>
                    <a:cubicBezTo>
                      <a:pt x="82" y="40"/>
                      <a:pt x="82" y="40"/>
                      <a:pt x="82" y="40"/>
                    </a:cubicBezTo>
                    <a:cubicBezTo>
                      <a:pt x="82" y="40"/>
                      <a:pt x="82" y="40"/>
                      <a:pt x="82" y="40"/>
                    </a:cubicBezTo>
                    <a:cubicBezTo>
                      <a:pt x="82" y="40"/>
                      <a:pt x="82" y="40"/>
                      <a:pt x="82" y="40"/>
                    </a:cubicBezTo>
                    <a:cubicBezTo>
                      <a:pt x="82" y="40"/>
                      <a:pt x="82" y="40"/>
                      <a:pt x="82" y="40"/>
                    </a:cubicBezTo>
                    <a:cubicBezTo>
                      <a:pt x="82" y="40"/>
                      <a:pt x="82" y="40"/>
                      <a:pt x="82" y="40"/>
                    </a:cubicBezTo>
                    <a:cubicBezTo>
                      <a:pt x="82" y="40"/>
                      <a:pt x="82" y="40"/>
                      <a:pt x="82" y="40"/>
                    </a:cubicBezTo>
                    <a:cubicBezTo>
                      <a:pt x="82" y="40"/>
                      <a:pt x="82" y="40"/>
                      <a:pt x="82" y="40"/>
                    </a:cubicBezTo>
                    <a:cubicBezTo>
                      <a:pt x="82" y="40"/>
                      <a:pt x="82" y="40"/>
                      <a:pt x="82" y="40"/>
                    </a:cubicBezTo>
                    <a:cubicBezTo>
                      <a:pt x="82" y="40"/>
                      <a:pt x="82" y="40"/>
                      <a:pt x="82" y="40"/>
                    </a:cubicBezTo>
                    <a:cubicBezTo>
                      <a:pt x="82" y="40"/>
                      <a:pt x="82" y="40"/>
                      <a:pt x="82" y="40"/>
                    </a:cubicBezTo>
                    <a:cubicBezTo>
                      <a:pt x="83" y="40"/>
                      <a:pt x="83" y="40"/>
                      <a:pt x="83" y="40"/>
                    </a:cubicBezTo>
                    <a:cubicBezTo>
                      <a:pt x="83" y="40"/>
                      <a:pt x="83" y="40"/>
                      <a:pt x="83" y="40"/>
                    </a:cubicBezTo>
                    <a:cubicBezTo>
                      <a:pt x="83" y="40"/>
                      <a:pt x="83" y="40"/>
                      <a:pt x="83" y="40"/>
                    </a:cubicBezTo>
                    <a:cubicBezTo>
                      <a:pt x="83" y="40"/>
                      <a:pt x="83" y="40"/>
                      <a:pt x="83" y="40"/>
                    </a:cubicBezTo>
                    <a:cubicBezTo>
                      <a:pt x="83" y="40"/>
                      <a:pt x="83" y="40"/>
                      <a:pt x="83" y="40"/>
                    </a:cubicBezTo>
                    <a:cubicBezTo>
                      <a:pt x="83" y="41"/>
                      <a:pt x="83" y="41"/>
                      <a:pt x="83" y="41"/>
                    </a:cubicBezTo>
                    <a:cubicBezTo>
                      <a:pt x="83" y="41"/>
                      <a:pt x="83" y="41"/>
                      <a:pt x="83" y="41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3"/>
                      <a:pt x="84" y="43"/>
                      <a:pt x="84" y="43"/>
                    </a:cubicBezTo>
                    <a:cubicBezTo>
                      <a:pt x="84" y="43"/>
                      <a:pt x="84" y="43"/>
                      <a:pt x="84" y="43"/>
                    </a:cubicBezTo>
                    <a:cubicBezTo>
                      <a:pt x="84" y="43"/>
                      <a:pt x="84" y="43"/>
                      <a:pt x="84" y="43"/>
                    </a:cubicBezTo>
                    <a:cubicBezTo>
                      <a:pt x="84" y="43"/>
                      <a:pt x="84" y="43"/>
                      <a:pt x="84" y="43"/>
                    </a:cubicBezTo>
                    <a:cubicBezTo>
                      <a:pt x="84" y="43"/>
                      <a:pt x="84" y="43"/>
                      <a:pt x="84" y="43"/>
                    </a:cubicBezTo>
                    <a:cubicBezTo>
                      <a:pt x="84" y="43"/>
                      <a:pt x="84" y="43"/>
                      <a:pt x="84" y="43"/>
                    </a:cubicBezTo>
                    <a:cubicBezTo>
                      <a:pt x="84" y="43"/>
                      <a:pt x="84" y="43"/>
                      <a:pt x="84" y="43"/>
                    </a:cubicBezTo>
                    <a:cubicBezTo>
                      <a:pt x="84" y="43"/>
                      <a:pt x="84" y="43"/>
                      <a:pt x="84" y="43"/>
                    </a:cubicBezTo>
                    <a:cubicBezTo>
                      <a:pt x="84" y="43"/>
                      <a:pt x="84" y="43"/>
                      <a:pt x="84" y="43"/>
                    </a:cubicBezTo>
                    <a:cubicBezTo>
                      <a:pt x="84" y="43"/>
                      <a:pt x="84" y="43"/>
                      <a:pt x="84" y="43"/>
                    </a:cubicBezTo>
                    <a:cubicBezTo>
                      <a:pt x="84" y="43"/>
                      <a:pt x="84" y="43"/>
                      <a:pt x="84" y="43"/>
                    </a:cubicBezTo>
                    <a:cubicBezTo>
                      <a:pt x="84" y="43"/>
                      <a:pt x="84" y="43"/>
                      <a:pt x="84" y="43"/>
                    </a:cubicBezTo>
                    <a:cubicBezTo>
                      <a:pt x="85" y="43"/>
                      <a:pt x="85" y="43"/>
                      <a:pt x="85" y="43"/>
                    </a:cubicBezTo>
                    <a:cubicBezTo>
                      <a:pt x="85" y="43"/>
                      <a:pt x="85" y="43"/>
                      <a:pt x="85" y="43"/>
                    </a:cubicBezTo>
                    <a:cubicBezTo>
                      <a:pt x="85" y="43"/>
                      <a:pt x="85" y="43"/>
                      <a:pt x="85" y="43"/>
                    </a:cubicBezTo>
                    <a:cubicBezTo>
                      <a:pt x="85" y="43"/>
                      <a:pt x="85" y="43"/>
                      <a:pt x="85" y="43"/>
                    </a:cubicBezTo>
                    <a:cubicBezTo>
                      <a:pt x="85" y="44"/>
                      <a:pt x="85" y="44"/>
                      <a:pt x="85" y="44"/>
                    </a:cubicBezTo>
                    <a:cubicBezTo>
                      <a:pt x="85" y="44"/>
                      <a:pt x="85" y="44"/>
                      <a:pt x="85" y="44"/>
                    </a:cubicBezTo>
                    <a:cubicBezTo>
                      <a:pt x="85" y="45"/>
                      <a:pt x="85" y="46"/>
                      <a:pt x="85" y="47"/>
                    </a:cubicBezTo>
                    <a:cubicBezTo>
                      <a:pt x="85" y="48"/>
                      <a:pt x="85" y="49"/>
                      <a:pt x="84" y="50"/>
                    </a:cubicBezTo>
                    <a:close/>
                    <a:moveTo>
                      <a:pt x="22" y="36"/>
                    </a:move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1" y="38"/>
                      <a:pt x="21" y="38"/>
                      <a:pt x="21" y="38"/>
                    </a:cubicBezTo>
                    <a:cubicBezTo>
                      <a:pt x="21" y="38"/>
                      <a:pt x="21" y="38"/>
                      <a:pt x="21" y="38"/>
                    </a:cubicBezTo>
                    <a:cubicBezTo>
                      <a:pt x="21" y="38"/>
                      <a:pt x="21" y="38"/>
                      <a:pt x="21" y="38"/>
                    </a:cubicBezTo>
                    <a:cubicBezTo>
                      <a:pt x="21" y="38"/>
                      <a:pt x="21" y="38"/>
                      <a:pt x="21" y="38"/>
                    </a:cubicBezTo>
                    <a:cubicBezTo>
                      <a:pt x="21" y="38"/>
                      <a:pt x="21" y="38"/>
                      <a:pt x="21" y="38"/>
                    </a:cubicBezTo>
                    <a:cubicBezTo>
                      <a:pt x="21" y="38"/>
                      <a:pt x="21" y="38"/>
                      <a:pt x="21" y="38"/>
                    </a:cubicBezTo>
                    <a:cubicBezTo>
                      <a:pt x="21" y="38"/>
                      <a:pt x="21" y="38"/>
                      <a:pt x="21" y="38"/>
                    </a:cubicBezTo>
                    <a:cubicBezTo>
                      <a:pt x="21" y="38"/>
                      <a:pt x="21" y="38"/>
                      <a:pt x="21" y="38"/>
                    </a:cubicBezTo>
                    <a:cubicBezTo>
                      <a:pt x="21" y="38"/>
                      <a:pt x="21" y="38"/>
                      <a:pt x="21" y="38"/>
                    </a:cubicBezTo>
                    <a:cubicBezTo>
                      <a:pt x="21" y="38"/>
                      <a:pt x="21" y="38"/>
                      <a:pt x="21" y="38"/>
                    </a:cubicBezTo>
                    <a:cubicBezTo>
                      <a:pt x="21" y="38"/>
                      <a:pt x="21" y="38"/>
                      <a:pt x="21" y="38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40"/>
                      <a:pt x="21" y="40"/>
                      <a:pt x="21" y="40"/>
                    </a:cubicBezTo>
                    <a:cubicBezTo>
                      <a:pt x="21" y="40"/>
                      <a:pt x="21" y="40"/>
                      <a:pt x="21" y="40"/>
                    </a:cubicBezTo>
                    <a:cubicBezTo>
                      <a:pt x="21" y="40"/>
                      <a:pt x="21" y="40"/>
                      <a:pt x="21" y="40"/>
                    </a:cubicBezTo>
                    <a:cubicBezTo>
                      <a:pt x="21" y="40"/>
                      <a:pt x="21" y="40"/>
                      <a:pt x="21" y="40"/>
                    </a:cubicBezTo>
                    <a:cubicBezTo>
                      <a:pt x="21" y="40"/>
                      <a:pt x="21" y="40"/>
                      <a:pt x="21" y="40"/>
                    </a:cubicBezTo>
                    <a:cubicBezTo>
                      <a:pt x="21" y="40"/>
                      <a:pt x="21" y="40"/>
                      <a:pt x="21" y="40"/>
                    </a:cubicBezTo>
                    <a:cubicBezTo>
                      <a:pt x="21" y="40"/>
                      <a:pt x="21" y="40"/>
                      <a:pt x="21" y="40"/>
                    </a:cubicBezTo>
                    <a:cubicBezTo>
                      <a:pt x="21" y="40"/>
                      <a:pt x="21" y="40"/>
                      <a:pt x="21" y="40"/>
                    </a:cubicBezTo>
                    <a:cubicBezTo>
                      <a:pt x="21" y="40"/>
                      <a:pt x="21" y="40"/>
                      <a:pt x="21" y="40"/>
                    </a:cubicBezTo>
                    <a:cubicBezTo>
                      <a:pt x="21" y="40"/>
                      <a:pt x="21" y="40"/>
                      <a:pt x="21" y="40"/>
                    </a:cubicBezTo>
                    <a:cubicBezTo>
                      <a:pt x="21" y="40"/>
                      <a:pt x="21" y="40"/>
                      <a:pt x="21" y="40"/>
                    </a:cubicBezTo>
                    <a:cubicBezTo>
                      <a:pt x="14" y="40"/>
                      <a:pt x="14" y="40"/>
                      <a:pt x="14" y="40"/>
                    </a:cubicBezTo>
                    <a:cubicBezTo>
                      <a:pt x="13" y="40"/>
                      <a:pt x="11" y="40"/>
                      <a:pt x="10" y="39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9" y="39"/>
                      <a:pt x="7" y="38"/>
                      <a:pt x="6" y="37"/>
                    </a:cubicBezTo>
                    <a:cubicBezTo>
                      <a:pt x="6" y="37"/>
                      <a:pt x="6" y="37"/>
                      <a:pt x="6" y="37"/>
                    </a:cubicBezTo>
                    <a:cubicBezTo>
                      <a:pt x="6" y="37"/>
                      <a:pt x="6" y="37"/>
                      <a:pt x="6" y="37"/>
                    </a:cubicBezTo>
                    <a:cubicBezTo>
                      <a:pt x="5" y="36"/>
                      <a:pt x="5" y="35"/>
                      <a:pt x="4" y="33"/>
                    </a:cubicBezTo>
                    <a:cubicBezTo>
                      <a:pt x="4" y="32"/>
                      <a:pt x="3" y="31"/>
                      <a:pt x="3" y="29"/>
                    </a:cubicBezTo>
                    <a:cubicBezTo>
                      <a:pt x="3" y="28"/>
                      <a:pt x="3" y="27"/>
                      <a:pt x="4" y="25"/>
                    </a:cubicBezTo>
                    <a:cubicBezTo>
                      <a:pt x="4" y="24"/>
                      <a:pt x="5" y="23"/>
                      <a:pt x="6" y="22"/>
                    </a:cubicBezTo>
                    <a:cubicBezTo>
                      <a:pt x="7" y="21"/>
                      <a:pt x="8" y="20"/>
                      <a:pt x="9" y="20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10" y="19"/>
                      <a:pt x="11" y="19"/>
                      <a:pt x="12" y="19"/>
                    </a:cubicBezTo>
                    <a:cubicBezTo>
                      <a:pt x="13" y="18"/>
                      <a:pt x="14" y="18"/>
                      <a:pt x="15" y="17"/>
                    </a:cubicBezTo>
                    <a:cubicBezTo>
                      <a:pt x="15" y="16"/>
                      <a:pt x="16" y="15"/>
                      <a:pt x="17" y="14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8" y="13"/>
                      <a:pt x="19" y="12"/>
                      <a:pt x="20" y="11"/>
                    </a:cubicBezTo>
                    <a:cubicBezTo>
                      <a:pt x="21" y="10"/>
                      <a:pt x="22" y="10"/>
                      <a:pt x="24" y="9"/>
                    </a:cubicBezTo>
                    <a:cubicBezTo>
                      <a:pt x="25" y="9"/>
                      <a:pt x="27" y="9"/>
                      <a:pt x="28" y="9"/>
                    </a:cubicBezTo>
                    <a:cubicBezTo>
                      <a:pt x="30" y="9"/>
                      <a:pt x="32" y="9"/>
                      <a:pt x="34" y="10"/>
                    </a:cubicBezTo>
                    <a:cubicBezTo>
                      <a:pt x="36" y="11"/>
                      <a:pt x="38" y="12"/>
                      <a:pt x="39" y="13"/>
                    </a:cubicBezTo>
                    <a:cubicBezTo>
                      <a:pt x="39" y="13"/>
                      <a:pt x="39" y="13"/>
                      <a:pt x="39" y="13"/>
                    </a:cubicBezTo>
                    <a:cubicBezTo>
                      <a:pt x="40" y="14"/>
                      <a:pt x="41" y="15"/>
                      <a:pt x="41" y="16"/>
                    </a:cubicBezTo>
                    <a:cubicBezTo>
                      <a:pt x="41" y="16"/>
                      <a:pt x="42" y="17"/>
                      <a:pt x="42" y="17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39" y="19"/>
                      <a:pt x="38" y="21"/>
                      <a:pt x="36" y="24"/>
                    </a:cubicBezTo>
                    <a:cubicBezTo>
                      <a:pt x="34" y="24"/>
                      <a:pt x="33" y="25"/>
                      <a:pt x="31" y="26"/>
                    </a:cubicBezTo>
                    <a:cubicBezTo>
                      <a:pt x="29" y="27"/>
                      <a:pt x="28" y="28"/>
                      <a:pt x="26" y="29"/>
                    </a:cubicBezTo>
                    <a:cubicBezTo>
                      <a:pt x="25" y="31"/>
                      <a:pt x="23" y="33"/>
                      <a:pt x="22" y="36"/>
                    </a:cubicBezTo>
                    <a:close/>
                  </a:path>
                </a:pathLst>
              </a:custGeom>
              <a:solidFill>
                <a:srgbClr val="3F96CE"/>
              </a:solidFill>
              <a:ln w="3175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8" name="Freeform 44"/>
              <p:cNvSpPr>
                <a:spLocks noEditPoints="1"/>
              </p:cNvSpPr>
              <p:nvPr/>
            </p:nvSpPr>
            <p:spPr bwMode="auto">
              <a:xfrm>
                <a:off x="9775413" y="3836242"/>
                <a:ext cx="166245" cy="156746"/>
              </a:xfrm>
              <a:custGeom>
                <a:avLst/>
                <a:gdLst>
                  <a:gd name="T0" fmla="*/ 25 w 30"/>
                  <a:gd name="T1" fmla="*/ 0 h 28"/>
                  <a:gd name="T2" fmla="*/ 5 w 30"/>
                  <a:gd name="T3" fmla="*/ 0 h 28"/>
                  <a:gd name="T4" fmla="*/ 0 w 30"/>
                  <a:gd name="T5" fmla="*/ 5 h 28"/>
                  <a:gd name="T6" fmla="*/ 0 w 30"/>
                  <a:gd name="T7" fmla="*/ 23 h 28"/>
                  <a:gd name="T8" fmla="*/ 5 w 30"/>
                  <a:gd name="T9" fmla="*/ 28 h 28"/>
                  <a:gd name="T10" fmla="*/ 25 w 30"/>
                  <a:gd name="T11" fmla="*/ 28 h 28"/>
                  <a:gd name="T12" fmla="*/ 30 w 30"/>
                  <a:gd name="T13" fmla="*/ 23 h 28"/>
                  <a:gd name="T14" fmla="*/ 30 w 30"/>
                  <a:gd name="T15" fmla="*/ 5 h 28"/>
                  <a:gd name="T16" fmla="*/ 25 w 30"/>
                  <a:gd name="T17" fmla="*/ 0 h 28"/>
                  <a:gd name="T18" fmla="*/ 26 w 30"/>
                  <a:gd name="T19" fmla="*/ 23 h 28"/>
                  <a:gd name="T20" fmla="*/ 25 w 30"/>
                  <a:gd name="T21" fmla="*/ 24 h 28"/>
                  <a:gd name="T22" fmla="*/ 5 w 30"/>
                  <a:gd name="T23" fmla="*/ 24 h 28"/>
                  <a:gd name="T24" fmla="*/ 4 w 30"/>
                  <a:gd name="T25" fmla="*/ 23 h 28"/>
                  <a:gd name="T26" fmla="*/ 4 w 30"/>
                  <a:gd name="T27" fmla="*/ 5 h 28"/>
                  <a:gd name="T28" fmla="*/ 5 w 30"/>
                  <a:gd name="T29" fmla="*/ 4 h 28"/>
                  <a:gd name="T30" fmla="*/ 25 w 30"/>
                  <a:gd name="T31" fmla="*/ 4 h 28"/>
                  <a:gd name="T32" fmla="*/ 26 w 30"/>
                  <a:gd name="T33" fmla="*/ 5 h 28"/>
                  <a:gd name="T34" fmla="*/ 26 w 30"/>
                  <a:gd name="T35" fmla="*/ 2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0" h="28">
                    <a:moveTo>
                      <a:pt x="25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6"/>
                      <a:pt x="2" y="28"/>
                      <a:pt x="5" y="28"/>
                    </a:cubicBezTo>
                    <a:cubicBezTo>
                      <a:pt x="25" y="28"/>
                      <a:pt x="25" y="28"/>
                      <a:pt x="25" y="28"/>
                    </a:cubicBezTo>
                    <a:cubicBezTo>
                      <a:pt x="28" y="28"/>
                      <a:pt x="30" y="26"/>
                      <a:pt x="30" y="23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0" y="2"/>
                      <a:pt x="28" y="0"/>
                      <a:pt x="25" y="0"/>
                    </a:cubicBezTo>
                    <a:close/>
                    <a:moveTo>
                      <a:pt x="26" y="23"/>
                    </a:moveTo>
                    <a:cubicBezTo>
                      <a:pt x="26" y="24"/>
                      <a:pt x="25" y="24"/>
                      <a:pt x="25" y="24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4" y="24"/>
                      <a:pt x="4" y="24"/>
                      <a:pt x="4" y="23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25" y="4"/>
                      <a:pt x="25" y="4"/>
                      <a:pt x="25" y="4"/>
                    </a:cubicBezTo>
                    <a:cubicBezTo>
                      <a:pt x="25" y="4"/>
                      <a:pt x="26" y="4"/>
                      <a:pt x="26" y="5"/>
                    </a:cubicBezTo>
                    <a:lnTo>
                      <a:pt x="26" y="23"/>
                    </a:lnTo>
                    <a:close/>
                  </a:path>
                </a:pathLst>
              </a:custGeom>
              <a:solidFill>
                <a:srgbClr val="3F96CE"/>
              </a:solidFill>
              <a:ln w="3175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9" name="Freeform 45"/>
              <p:cNvSpPr>
                <a:spLocks noEditPoints="1"/>
              </p:cNvSpPr>
              <p:nvPr/>
            </p:nvSpPr>
            <p:spPr bwMode="auto">
              <a:xfrm>
                <a:off x="9554543" y="3615372"/>
                <a:ext cx="600859" cy="315867"/>
              </a:xfrm>
              <a:custGeom>
                <a:avLst/>
                <a:gdLst>
                  <a:gd name="T0" fmla="*/ 106 w 107"/>
                  <a:gd name="T1" fmla="*/ 51 h 56"/>
                  <a:gd name="T2" fmla="*/ 56 w 107"/>
                  <a:gd name="T3" fmla="*/ 1 h 56"/>
                  <a:gd name="T4" fmla="*/ 52 w 107"/>
                  <a:gd name="T5" fmla="*/ 1 h 56"/>
                  <a:gd name="T6" fmla="*/ 35 w 107"/>
                  <a:gd name="T7" fmla="*/ 18 h 56"/>
                  <a:gd name="T8" fmla="*/ 35 w 107"/>
                  <a:gd name="T9" fmla="*/ 6 h 56"/>
                  <a:gd name="T10" fmla="*/ 34 w 107"/>
                  <a:gd name="T11" fmla="*/ 5 h 56"/>
                  <a:gd name="T12" fmla="*/ 23 w 107"/>
                  <a:gd name="T13" fmla="*/ 5 h 56"/>
                  <a:gd name="T14" fmla="*/ 22 w 107"/>
                  <a:gd name="T15" fmla="*/ 6 h 56"/>
                  <a:gd name="T16" fmla="*/ 22 w 107"/>
                  <a:gd name="T17" fmla="*/ 31 h 56"/>
                  <a:gd name="T18" fmla="*/ 1 w 107"/>
                  <a:gd name="T19" fmla="*/ 51 h 56"/>
                  <a:gd name="T20" fmla="*/ 1 w 107"/>
                  <a:gd name="T21" fmla="*/ 55 h 56"/>
                  <a:gd name="T22" fmla="*/ 5 w 107"/>
                  <a:gd name="T23" fmla="*/ 55 h 56"/>
                  <a:gd name="T24" fmla="*/ 54 w 107"/>
                  <a:gd name="T25" fmla="*/ 6 h 56"/>
                  <a:gd name="T26" fmla="*/ 103 w 107"/>
                  <a:gd name="T27" fmla="*/ 55 h 56"/>
                  <a:gd name="T28" fmla="*/ 106 w 107"/>
                  <a:gd name="T29" fmla="*/ 55 h 56"/>
                  <a:gd name="T30" fmla="*/ 107 w 107"/>
                  <a:gd name="T31" fmla="*/ 53 h 56"/>
                  <a:gd name="T32" fmla="*/ 106 w 107"/>
                  <a:gd name="T33" fmla="*/ 51 h 56"/>
                  <a:gd name="T34" fmla="*/ 31 w 107"/>
                  <a:gd name="T35" fmla="*/ 19 h 56"/>
                  <a:gd name="T36" fmla="*/ 26 w 107"/>
                  <a:gd name="T37" fmla="*/ 24 h 56"/>
                  <a:gd name="T38" fmla="*/ 26 w 107"/>
                  <a:gd name="T39" fmla="*/ 9 h 56"/>
                  <a:gd name="T40" fmla="*/ 31 w 107"/>
                  <a:gd name="T41" fmla="*/ 9 h 56"/>
                  <a:gd name="T42" fmla="*/ 31 w 107"/>
                  <a:gd name="T43" fmla="*/ 1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7" h="56">
                    <a:moveTo>
                      <a:pt x="106" y="51"/>
                    </a:moveTo>
                    <a:cubicBezTo>
                      <a:pt x="56" y="1"/>
                      <a:pt x="56" y="1"/>
                      <a:pt x="56" y="1"/>
                    </a:cubicBezTo>
                    <a:cubicBezTo>
                      <a:pt x="55" y="0"/>
                      <a:pt x="53" y="0"/>
                      <a:pt x="52" y="1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6"/>
                      <a:pt x="35" y="6"/>
                      <a:pt x="35" y="6"/>
                    </a:cubicBezTo>
                    <a:cubicBezTo>
                      <a:pt x="35" y="5"/>
                      <a:pt x="34" y="5"/>
                      <a:pt x="34" y="5"/>
                    </a:cubicBezTo>
                    <a:cubicBezTo>
                      <a:pt x="23" y="5"/>
                      <a:pt x="23" y="5"/>
                      <a:pt x="23" y="5"/>
                    </a:cubicBezTo>
                    <a:cubicBezTo>
                      <a:pt x="22" y="5"/>
                      <a:pt x="22" y="5"/>
                      <a:pt x="22" y="6"/>
                    </a:cubicBezTo>
                    <a:cubicBezTo>
                      <a:pt x="22" y="31"/>
                      <a:pt x="22" y="31"/>
                      <a:pt x="22" y="31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52"/>
                      <a:pt x="0" y="54"/>
                      <a:pt x="1" y="55"/>
                    </a:cubicBezTo>
                    <a:cubicBezTo>
                      <a:pt x="2" y="56"/>
                      <a:pt x="4" y="56"/>
                      <a:pt x="5" y="55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103" y="55"/>
                      <a:pt x="103" y="55"/>
                      <a:pt x="103" y="55"/>
                    </a:cubicBezTo>
                    <a:cubicBezTo>
                      <a:pt x="104" y="56"/>
                      <a:pt x="105" y="56"/>
                      <a:pt x="106" y="55"/>
                    </a:cubicBezTo>
                    <a:cubicBezTo>
                      <a:pt x="107" y="55"/>
                      <a:pt x="107" y="54"/>
                      <a:pt x="107" y="53"/>
                    </a:cubicBezTo>
                    <a:cubicBezTo>
                      <a:pt x="107" y="53"/>
                      <a:pt x="107" y="52"/>
                      <a:pt x="106" y="51"/>
                    </a:cubicBezTo>
                    <a:close/>
                    <a:moveTo>
                      <a:pt x="31" y="19"/>
                    </a:moveTo>
                    <a:cubicBezTo>
                      <a:pt x="26" y="24"/>
                      <a:pt x="26" y="24"/>
                      <a:pt x="26" y="24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31" y="9"/>
                      <a:pt x="31" y="9"/>
                      <a:pt x="31" y="9"/>
                    </a:cubicBez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3F96CE"/>
              </a:solidFill>
              <a:ln w="3175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cxnSp>
          <p:nvCxnSpPr>
            <p:cNvPr id="143" name="Gerade Verbindung 142"/>
            <p:cNvCxnSpPr/>
            <p:nvPr/>
          </p:nvCxnSpPr>
          <p:spPr>
            <a:xfrm flipH="1" flipV="1">
              <a:off x="5916573" y="3371891"/>
              <a:ext cx="3876104" cy="647824"/>
            </a:xfrm>
            <a:prstGeom prst="line">
              <a:avLst/>
            </a:prstGeom>
            <a:ln w="19050">
              <a:solidFill>
                <a:srgbClr val="3F96CE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145"/>
            <p:cNvCxnSpPr/>
            <p:nvPr/>
          </p:nvCxnSpPr>
          <p:spPr>
            <a:xfrm flipV="1">
              <a:off x="5636050" y="3131872"/>
              <a:ext cx="168949" cy="2194028"/>
            </a:xfrm>
            <a:prstGeom prst="line">
              <a:avLst/>
            </a:prstGeom>
            <a:ln w="19050">
              <a:solidFill>
                <a:srgbClr val="3F96CE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4" name="Gruppieren 33"/>
            <p:cNvGrpSpPr/>
            <p:nvPr/>
          </p:nvGrpSpPr>
          <p:grpSpPr>
            <a:xfrm>
              <a:off x="1284304" y="3931239"/>
              <a:ext cx="773926" cy="686569"/>
              <a:chOff x="1465262" y="3406437"/>
              <a:chExt cx="900113" cy="798513"/>
            </a:xfrm>
          </p:grpSpPr>
          <p:sp>
            <p:nvSpPr>
              <p:cNvPr id="6" name="Freeform 8"/>
              <p:cNvSpPr>
                <a:spLocks/>
              </p:cNvSpPr>
              <p:nvPr/>
            </p:nvSpPr>
            <p:spPr bwMode="auto">
              <a:xfrm>
                <a:off x="1765300" y="3784262"/>
                <a:ext cx="300038" cy="420688"/>
              </a:xfrm>
              <a:custGeom>
                <a:avLst/>
                <a:gdLst>
                  <a:gd name="T0" fmla="*/ 73 w 80"/>
                  <a:gd name="T1" fmla="*/ 43 h 112"/>
                  <a:gd name="T2" fmla="*/ 76 w 80"/>
                  <a:gd name="T3" fmla="*/ 44 h 112"/>
                  <a:gd name="T4" fmla="*/ 79 w 80"/>
                  <a:gd name="T5" fmla="*/ 43 h 112"/>
                  <a:gd name="T6" fmla="*/ 79 w 80"/>
                  <a:gd name="T7" fmla="*/ 37 h 112"/>
                  <a:gd name="T8" fmla="*/ 43 w 80"/>
                  <a:gd name="T9" fmla="*/ 1 h 112"/>
                  <a:gd name="T10" fmla="*/ 37 w 80"/>
                  <a:gd name="T11" fmla="*/ 1 h 112"/>
                  <a:gd name="T12" fmla="*/ 1 w 80"/>
                  <a:gd name="T13" fmla="*/ 37 h 112"/>
                  <a:gd name="T14" fmla="*/ 1 w 80"/>
                  <a:gd name="T15" fmla="*/ 43 h 112"/>
                  <a:gd name="T16" fmla="*/ 7 w 80"/>
                  <a:gd name="T17" fmla="*/ 43 h 112"/>
                  <a:gd name="T18" fmla="*/ 36 w 80"/>
                  <a:gd name="T19" fmla="*/ 14 h 112"/>
                  <a:gd name="T20" fmla="*/ 36 w 80"/>
                  <a:gd name="T21" fmla="*/ 108 h 112"/>
                  <a:gd name="T22" fmla="*/ 40 w 80"/>
                  <a:gd name="T23" fmla="*/ 112 h 112"/>
                  <a:gd name="T24" fmla="*/ 44 w 80"/>
                  <a:gd name="T25" fmla="*/ 108 h 112"/>
                  <a:gd name="T26" fmla="*/ 44 w 80"/>
                  <a:gd name="T27" fmla="*/ 14 h 112"/>
                  <a:gd name="T28" fmla="*/ 73 w 80"/>
                  <a:gd name="T29" fmla="*/ 43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0" h="112">
                    <a:moveTo>
                      <a:pt x="73" y="43"/>
                    </a:moveTo>
                    <a:cubicBezTo>
                      <a:pt x="74" y="44"/>
                      <a:pt x="75" y="44"/>
                      <a:pt x="76" y="44"/>
                    </a:cubicBezTo>
                    <a:cubicBezTo>
                      <a:pt x="77" y="44"/>
                      <a:pt x="78" y="44"/>
                      <a:pt x="79" y="43"/>
                    </a:cubicBezTo>
                    <a:cubicBezTo>
                      <a:pt x="80" y="41"/>
                      <a:pt x="80" y="39"/>
                      <a:pt x="79" y="37"/>
                    </a:cubicBezTo>
                    <a:cubicBezTo>
                      <a:pt x="43" y="1"/>
                      <a:pt x="43" y="1"/>
                      <a:pt x="43" y="1"/>
                    </a:cubicBezTo>
                    <a:cubicBezTo>
                      <a:pt x="41" y="0"/>
                      <a:pt x="39" y="0"/>
                      <a:pt x="37" y="1"/>
                    </a:cubicBezTo>
                    <a:cubicBezTo>
                      <a:pt x="1" y="37"/>
                      <a:pt x="1" y="37"/>
                      <a:pt x="1" y="37"/>
                    </a:cubicBezTo>
                    <a:cubicBezTo>
                      <a:pt x="0" y="39"/>
                      <a:pt x="0" y="41"/>
                      <a:pt x="1" y="43"/>
                    </a:cubicBezTo>
                    <a:cubicBezTo>
                      <a:pt x="3" y="44"/>
                      <a:pt x="5" y="44"/>
                      <a:pt x="7" y="43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6" y="108"/>
                      <a:pt x="36" y="108"/>
                      <a:pt x="36" y="108"/>
                    </a:cubicBezTo>
                    <a:cubicBezTo>
                      <a:pt x="36" y="110"/>
                      <a:pt x="38" y="112"/>
                      <a:pt x="40" y="112"/>
                    </a:cubicBezTo>
                    <a:cubicBezTo>
                      <a:pt x="42" y="112"/>
                      <a:pt x="44" y="110"/>
                      <a:pt x="44" y="108"/>
                    </a:cubicBezTo>
                    <a:cubicBezTo>
                      <a:pt x="44" y="14"/>
                      <a:pt x="44" y="14"/>
                      <a:pt x="44" y="14"/>
                    </a:cubicBezTo>
                    <a:lnTo>
                      <a:pt x="73" y="43"/>
                    </a:lnTo>
                    <a:close/>
                  </a:path>
                </a:pathLst>
              </a:custGeom>
              <a:solidFill>
                <a:srgbClr val="3F96CE"/>
              </a:solidFill>
              <a:ln w="3175">
                <a:solidFill>
                  <a:srgbClr val="3F96CE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9"/>
              <p:cNvSpPr>
                <a:spLocks/>
              </p:cNvSpPr>
              <p:nvPr/>
            </p:nvSpPr>
            <p:spPr bwMode="auto">
              <a:xfrm>
                <a:off x="1465262" y="3406437"/>
                <a:ext cx="900113" cy="617538"/>
              </a:xfrm>
              <a:custGeom>
                <a:avLst/>
                <a:gdLst>
                  <a:gd name="T0" fmla="*/ 197 w 240"/>
                  <a:gd name="T1" fmla="*/ 53 h 165"/>
                  <a:gd name="T2" fmla="*/ 140 w 240"/>
                  <a:gd name="T3" fmla="*/ 0 h 165"/>
                  <a:gd name="T4" fmla="*/ 86 w 240"/>
                  <a:gd name="T5" fmla="*/ 37 h 165"/>
                  <a:gd name="T6" fmla="*/ 75 w 240"/>
                  <a:gd name="T7" fmla="*/ 35 h 165"/>
                  <a:gd name="T8" fmla="*/ 35 w 240"/>
                  <a:gd name="T9" fmla="*/ 72 h 165"/>
                  <a:gd name="T10" fmla="*/ 0 w 240"/>
                  <a:gd name="T11" fmla="*/ 118 h 165"/>
                  <a:gd name="T12" fmla="*/ 47 w 240"/>
                  <a:gd name="T13" fmla="*/ 165 h 165"/>
                  <a:gd name="T14" fmla="*/ 96 w 240"/>
                  <a:gd name="T15" fmla="*/ 165 h 165"/>
                  <a:gd name="T16" fmla="*/ 100 w 240"/>
                  <a:gd name="T17" fmla="*/ 161 h 165"/>
                  <a:gd name="T18" fmla="*/ 96 w 240"/>
                  <a:gd name="T19" fmla="*/ 157 h 165"/>
                  <a:gd name="T20" fmla="*/ 47 w 240"/>
                  <a:gd name="T21" fmla="*/ 157 h 165"/>
                  <a:gd name="T22" fmla="*/ 8 w 240"/>
                  <a:gd name="T23" fmla="*/ 118 h 165"/>
                  <a:gd name="T24" fmla="*/ 40 w 240"/>
                  <a:gd name="T25" fmla="*/ 79 h 165"/>
                  <a:gd name="T26" fmla="*/ 44 w 240"/>
                  <a:gd name="T27" fmla="*/ 79 h 165"/>
                  <a:gd name="T28" fmla="*/ 43 w 240"/>
                  <a:gd name="T29" fmla="*/ 74 h 165"/>
                  <a:gd name="T30" fmla="*/ 75 w 240"/>
                  <a:gd name="T31" fmla="*/ 43 h 165"/>
                  <a:gd name="T32" fmla="*/ 87 w 240"/>
                  <a:gd name="T33" fmla="*/ 46 h 165"/>
                  <a:gd name="T34" fmla="*/ 91 w 240"/>
                  <a:gd name="T35" fmla="*/ 47 h 165"/>
                  <a:gd name="T36" fmla="*/ 93 w 240"/>
                  <a:gd name="T37" fmla="*/ 43 h 165"/>
                  <a:gd name="T38" fmla="*/ 140 w 240"/>
                  <a:gd name="T39" fmla="*/ 8 h 165"/>
                  <a:gd name="T40" fmla="*/ 189 w 240"/>
                  <a:gd name="T41" fmla="*/ 56 h 165"/>
                  <a:gd name="T42" fmla="*/ 189 w 240"/>
                  <a:gd name="T43" fmla="*/ 59 h 165"/>
                  <a:gd name="T44" fmla="*/ 192 w 240"/>
                  <a:gd name="T45" fmla="*/ 60 h 165"/>
                  <a:gd name="T46" fmla="*/ 232 w 240"/>
                  <a:gd name="T47" fmla="*/ 108 h 165"/>
                  <a:gd name="T48" fmla="*/ 188 w 240"/>
                  <a:gd name="T49" fmla="*/ 157 h 165"/>
                  <a:gd name="T50" fmla="*/ 187 w 240"/>
                  <a:gd name="T51" fmla="*/ 157 h 165"/>
                  <a:gd name="T52" fmla="*/ 144 w 240"/>
                  <a:gd name="T53" fmla="*/ 157 h 165"/>
                  <a:gd name="T54" fmla="*/ 140 w 240"/>
                  <a:gd name="T55" fmla="*/ 161 h 165"/>
                  <a:gd name="T56" fmla="*/ 144 w 240"/>
                  <a:gd name="T57" fmla="*/ 165 h 165"/>
                  <a:gd name="T58" fmla="*/ 189 w 240"/>
                  <a:gd name="T59" fmla="*/ 165 h 165"/>
                  <a:gd name="T60" fmla="*/ 192 w 240"/>
                  <a:gd name="T61" fmla="*/ 165 h 165"/>
                  <a:gd name="T62" fmla="*/ 192 w 240"/>
                  <a:gd name="T63" fmla="*/ 165 h 165"/>
                  <a:gd name="T64" fmla="*/ 240 w 240"/>
                  <a:gd name="T65" fmla="*/ 108 h 165"/>
                  <a:gd name="T66" fmla="*/ 197 w 240"/>
                  <a:gd name="T67" fmla="*/ 53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0" h="165">
                    <a:moveTo>
                      <a:pt x="197" y="53"/>
                    </a:moveTo>
                    <a:cubicBezTo>
                      <a:pt x="194" y="23"/>
                      <a:pt x="169" y="0"/>
                      <a:pt x="140" y="0"/>
                    </a:cubicBezTo>
                    <a:cubicBezTo>
                      <a:pt x="116" y="0"/>
                      <a:pt x="94" y="15"/>
                      <a:pt x="86" y="37"/>
                    </a:cubicBezTo>
                    <a:cubicBezTo>
                      <a:pt x="83" y="36"/>
                      <a:pt x="79" y="35"/>
                      <a:pt x="75" y="35"/>
                    </a:cubicBezTo>
                    <a:cubicBezTo>
                      <a:pt x="54" y="35"/>
                      <a:pt x="37" y="51"/>
                      <a:pt x="35" y="72"/>
                    </a:cubicBezTo>
                    <a:cubicBezTo>
                      <a:pt x="15" y="77"/>
                      <a:pt x="0" y="96"/>
                      <a:pt x="0" y="118"/>
                    </a:cubicBezTo>
                    <a:cubicBezTo>
                      <a:pt x="0" y="144"/>
                      <a:pt x="21" y="165"/>
                      <a:pt x="47" y="165"/>
                    </a:cubicBezTo>
                    <a:cubicBezTo>
                      <a:pt x="96" y="165"/>
                      <a:pt x="96" y="165"/>
                      <a:pt x="96" y="165"/>
                    </a:cubicBezTo>
                    <a:cubicBezTo>
                      <a:pt x="98" y="165"/>
                      <a:pt x="100" y="163"/>
                      <a:pt x="100" y="161"/>
                    </a:cubicBezTo>
                    <a:cubicBezTo>
                      <a:pt x="100" y="159"/>
                      <a:pt x="98" y="157"/>
                      <a:pt x="96" y="157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26" y="157"/>
                      <a:pt x="8" y="139"/>
                      <a:pt x="8" y="118"/>
                    </a:cubicBezTo>
                    <a:cubicBezTo>
                      <a:pt x="8" y="99"/>
                      <a:pt x="22" y="83"/>
                      <a:pt x="40" y="79"/>
                    </a:cubicBezTo>
                    <a:cubicBezTo>
                      <a:pt x="44" y="79"/>
                      <a:pt x="44" y="79"/>
                      <a:pt x="44" y="79"/>
                    </a:cubicBezTo>
                    <a:cubicBezTo>
                      <a:pt x="43" y="74"/>
                      <a:pt x="43" y="74"/>
                      <a:pt x="43" y="74"/>
                    </a:cubicBezTo>
                    <a:cubicBezTo>
                      <a:pt x="43" y="57"/>
                      <a:pt x="57" y="43"/>
                      <a:pt x="75" y="43"/>
                    </a:cubicBezTo>
                    <a:cubicBezTo>
                      <a:pt x="79" y="43"/>
                      <a:pt x="83" y="44"/>
                      <a:pt x="87" y="46"/>
                    </a:cubicBezTo>
                    <a:cubicBezTo>
                      <a:pt x="91" y="47"/>
                      <a:pt x="91" y="47"/>
                      <a:pt x="91" y="47"/>
                    </a:cubicBezTo>
                    <a:cubicBezTo>
                      <a:pt x="93" y="43"/>
                      <a:pt x="93" y="43"/>
                      <a:pt x="93" y="43"/>
                    </a:cubicBezTo>
                    <a:cubicBezTo>
                      <a:pt x="99" y="22"/>
                      <a:pt x="118" y="8"/>
                      <a:pt x="140" y="8"/>
                    </a:cubicBezTo>
                    <a:cubicBezTo>
                      <a:pt x="166" y="8"/>
                      <a:pt x="188" y="29"/>
                      <a:pt x="189" y="56"/>
                    </a:cubicBezTo>
                    <a:cubicBezTo>
                      <a:pt x="189" y="59"/>
                      <a:pt x="189" y="59"/>
                      <a:pt x="189" y="59"/>
                    </a:cubicBezTo>
                    <a:cubicBezTo>
                      <a:pt x="192" y="60"/>
                      <a:pt x="192" y="60"/>
                      <a:pt x="192" y="60"/>
                    </a:cubicBezTo>
                    <a:cubicBezTo>
                      <a:pt x="215" y="64"/>
                      <a:pt x="232" y="84"/>
                      <a:pt x="232" y="108"/>
                    </a:cubicBezTo>
                    <a:cubicBezTo>
                      <a:pt x="232" y="133"/>
                      <a:pt x="213" y="154"/>
                      <a:pt x="188" y="157"/>
                    </a:cubicBezTo>
                    <a:cubicBezTo>
                      <a:pt x="187" y="157"/>
                      <a:pt x="187" y="157"/>
                      <a:pt x="187" y="157"/>
                    </a:cubicBezTo>
                    <a:cubicBezTo>
                      <a:pt x="144" y="157"/>
                      <a:pt x="144" y="157"/>
                      <a:pt x="144" y="157"/>
                    </a:cubicBezTo>
                    <a:cubicBezTo>
                      <a:pt x="142" y="157"/>
                      <a:pt x="140" y="159"/>
                      <a:pt x="140" y="161"/>
                    </a:cubicBezTo>
                    <a:cubicBezTo>
                      <a:pt x="140" y="163"/>
                      <a:pt x="142" y="165"/>
                      <a:pt x="144" y="165"/>
                    </a:cubicBezTo>
                    <a:cubicBezTo>
                      <a:pt x="189" y="165"/>
                      <a:pt x="189" y="165"/>
                      <a:pt x="189" y="165"/>
                    </a:cubicBezTo>
                    <a:cubicBezTo>
                      <a:pt x="192" y="165"/>
                      <a:pt x="192" y="165"/>
                      <a:pt x="192" y="165"/>
                    </a:cubicBezTo>
                    <a:cubicBezTo>
                      <a:pt x="192" y="165"/>
                      <a:pt x="192" y="165"/>
                      <a:pt x="192" y="165"/>
                    </a:cubicBezTo>
                    <a:cubicBezTo>
                      <a:pt x="220" y="160"/>
                      <a:pt x="240" y="136"/>
                      <a:pt x="240" y="108"/>
                    </a:cubicBezTo>
                    <a:cubicBezTo>
                      <a:pt x="240" y="82"/>
                      <a:pt x="222" y="59"/>
                      <a:pt x="197" y="53"/>
                    </a:cubicBezTo>
                    <a:close/>
                  </a:path>
                </a:pathLst>
              </a:custGeom>
              <a:solidFill>
                <a:srgbClr val="3F96CE"/>
              </a:solidFill>
              <a:ln w="19050">
                <a:solidFill>
                  <a:srgbClr val="3F96CE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2" name="Gruppieren 11"/>
            <p:cNvGrpSpPr/>
            <p:nvPr/>
          </p:nvGrpSpPr>
          <p:grpSpPr>
            <a:xfrm>
              <a:off x="3864660" y="5625963"/>
              <a:ext cx="773926" cy="713867"/>
              <a:chOff x="4302126" y="2420938"/>
              <a:chExt cx="900113" cy="830262"/>
            </a:xfrm>
          </p:grpSpPr>
          <p:sp>
            <p:nvSpPr>
              <p:cNvPr id="4" name="Freeform 7"/>
              <p:cNvSpPr>
                <a:spLocks/>
              </p:cNvSpPr>
              <p:nvPr/>
            </p:nvSpPr>
            <p:spPr bwMode="auto">
              <a:xfrm>
                <a:off x="4602163" y="2860675"/>
                <a:ext cx="300038" cy="390525"/>
              </a:xfrm>
              <a:custGeom>
                <a:avLst/>
                <a:gdLst>
                  <a:gd name="T0" fmla="*/ 73 w 80"/>
                  <a:gd name="T1" fmla="*/ 61 h 104"/>
                  <a:gd name="T2" fmla="*/ 44 w 80"/>
                  <a:gd name="T3" fmla="*/ 90 h 104"/>
                  <a:gd name="T4" fmla="*/ 44 w 80"/>
                  <a:gd name="T5" fmla="*/ 4 h 104"/>
                  <a:gd name="T6" fmla="*/ 40 w 80"/>
                  <a:gd name="T7" fmla="*/ 0 h 104"/>
                  <a:gd name="T8" fmla="*/ 36 w 80"/>
                  <a:gd name="T9" fmla="*/ 4 h 104"/>
                  <a:gd name="T10" fmla="*/ 36 w 80"/>
                  <a:gd name="T11" fmla="*/ 90 h 104"/>
                  <a:gd name="T12" fmla="*/ 7 w 80"/>
                  <a:gd name="T13" fmla="*/ 61 h 104"/>
                  <a:gd name="T14" fmla="*/ 1 w 80"/>
                  <a:gd name="T15" fmla="*/ 61 h 104"/>
                  <a:gd name="T16" fmla="*/ 1 w 80"/>
                  <a:gd name="T17" fmla="*/ 67 h 104"/>
                  <a:gd name="T18" fmla="*/ 37 w 80"/>
                  <a:gd name="T19" fmla="*/ 103 h 104"/>
                  <a:gd name="T20" fmla="*/ 40 w 80"/>
                  <a:gd name="T21" fmla="*/ 104 h 104"/>
                  <a:gd name="T22" fmla="*/ 43 w 80"/>
                  <a:gd name="T23" fmla="*/ 103 h 104"/>
                  <a:gd name="T24" fmla="*/ 79 w 80"/>
                  <a:gd name="T25" fmla="*/ 67 h 104"/>
                  <a:gd name="T26" fmla="*/ 79 w 80"/>
                  <a:gd name="T27" fmla="*/ 61 h 104"/>
                  <a:gd name="T28" fmla="*/ 73 w 80"/>
                  <a:gd name="T29" fmla="*/ 61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0" h="104">
                    <a:moveTo>
                      <a:pt x="73" y="61"/>
                    </a:moveTo>
                    <a:cubicBezTo>
                      <a:pt x="44" y="90"/>
                      <a:pt x="44" y="90"/>
                      <a:pt x="44" y="90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2"/>
                      <a:pt x="42" y="0"/>
                      <a:pt x="40" y="0"/>
                    </a:cubicBezTo>
                    <a:cubicBezTo>
                      <a:pt x="38" y="0"/>
                      <a:pt x="36" y="2"/>
                      <a:pt x="36" y="4"/>
                    </a:cubicBezTo>
                    <a:cubicBezTo>
                      <a:pt x="36" y="90"/>
                      <a:pt x="36" y="90"/>
                      <a:pt x="36" y="90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5" y="60"/>
                      <a:pt x="3" y="60"/>
                      <a:pt x="1" y="61"/>
                    </a:cubicBezTo>
                    <a:cubicBezTo>
                      <a:pt x="0" y="63"/>
                      <a:pt x="0" y="65"/>
                      <a:pt x="1" y="67"/>
                    </a:cubicBezTo>
                    <a:cubicBezTo>
                      <a:pt x="37" y="103"/>
                      <a:pt x="37" y="103"/>
                      <a:pt x="37" y="103"/>
                    </a:cubicBezTo>
                    <a:cubicBezTo>
                      <a:pt x="38" y="104"/>
                      <a:pt x="39" y="104"/>
                      <a:pt x="40" y="104"/>
                    </a:cubicBezTo>
                    <a:cubicBezTo>
                      <a:pt x="41" y="104"/>
                      <a:pt x="42" y="104"/>
                      <a:pt x="43" y="103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80" y="65"/>
                      <a:pt x="80" y="63"/>
                      <a:pt x="79" y="61"/>
                    </a:cubicBezTo>
                    <a:cubicBezTo>
                      <a:pt x="77" y="60"/>
                      <a:pt x="75" y="60"/>
                      <a:pt x="73" y="61"/>
                    </a:cubicBezTo>
                    <a:close/>
                  </a:path>
                </a:pathLst>
              </a:custGeom>
              <a:solidFill>
                <a:srgbClr val="3F96CE"/>
              </a:solidFill>
              <a:ln w="19050">
                <a:solidFill>
                  <a:srgbClr val="3F96CE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" name="Freeform 8"/>
              <p:cNvSpPr>
                <a:spLocks/>
              </p:cNvSpPr>
              <p:nvPr/>
            </p:nvSpPr>
            <p:spPr bwMode="auto">
              <a:xfrm>
                <a:off x="4302126" y="2420938"/>
                <a:ext cx="900113" cy="619125"/>
              </a:xfrm>
              <a:custGeom>
                <a:avLst/>
                <a:gdLst>
                  <a:gd name="T0" fmla="*/ 197 w 240"/>
                  <a:gd name="T1" fmla="*/ 53 h 165"/>
                  <a:gd name="T2" fmla="*/ 140 w 240"/>
                  <a:gd name="T3" fmla="*/ 0 h 165"/>
                  <a:gd name="T4" fmla="*/ 86 w 240"/>
                  <a:gd name="T5" fmla="*/ 37 h 165"/>
                  <a:gd name="T6" fmla="*/ 75 w 240"/>
                  <a:gd name="T7" fmla="*/ 35 h 165"/>
                  <a:gd name="T8" fmla="*/ 35 w 240"/>
                  <a:gd name="T9" fmla="*/ 72 h 165"/>
                  <a:gd name="T10" fmla="*/ 0 w 240"/>
                  <a:gd name="T11" fmla="*/ 118 h 165"/>
                  <a:gd name="T12" fmla="*/ 47 w 240"/>
                  <a:gd name="T13" fmla="*/ 165 h 165"/>
                  <a:gd name="T14" fmla="*/ 96 w 240"/>
                  <a:gd name="T15" fmla="*/ 165 h 165"/>
                  <a:gd name="T16" fmla="*/ 100 w 240"/>
                  <a:gd name="T17" fmla="*/ 161 h 165"/>
                  <a:gd name="T18" fmla="*/ 96 w 240"/>
                  <a:gd name="T19" fmla="*/ 157 h 165"/>
                  <a:gd name="T20" fmla="*/ 47 w 240"/>
                  <a:gd name="T21" fmla="*/ 157 h 165"/>
                  <a:gd name="T22" fmla="*/ 8 w 240"/>
                  <a:gd name="T23" fmla="*/ 118 h 165"/>
                  <a:gd name="T24" fmla="*/ 40 w 240"/>
                  <a:gd name="T25" fmla="*/ 79 h 165"/>
                  <a:gd name="T26" fmla="*/ 44 w 240"/>
                  <a:gd name="T27" fmla="*/ 79 h 165"/>
                  <a:gd name="T28" fmla="*/ 43 w 240"/>
                  <a:gd name="T29" fmla="*/ 74 h 165"/>
                  <a:gd name="T30" fmla="*/ 75 w 240"/>
                  <a:gd name="T31" fmla="*/ 43 h 165"/>
                  <a:gd name="T32" fmla="*/ 87 w 240"/>
                  <a:gd name="T33" fmla="*/ 46 h 165"/>
                  <a:gd name="T34" fmla="*/ 91 w 240"/>
                  <a:gd name="T35" fmla="*/ 47 h 165"/>
                  <a:gd name="T36" fmla="*/ 93 w 240"/>
                  <a:gd name="T37" fmla="*/ 43 h 165"/>
                  <a:gd name="T38" fmla="*/ 140 w 240"/>
                  <a:gd name="T39" fmla="*/ 8 h 165"/>
                  <a:gd name="T40" fmla="*/ 189 w 240"/>
                  <a:gd name="T41" fmla="*/ 56 h 165"/>
                  <a:gd name="T42" fmla="*/ 189 w 240"/>
                  <a:gd name="T43" fmla="*/ 59 h 165"/>
                  <a:gd name="T44" fmla="*/ 192 w 240"/>
                  <a:gd name="T45" fmla="*/ 60 h 165"/>
                  <a:gd name="T46" fmla="*/ 232 w 240"/>
                  <a:gd name="T47" fmla="*/ 108 h 165"/>
                  <a:gd name="T48" fmla="*/ 188 w 240"/>
                  <a:gd name="T49" fmla="*/ 157 h 165"/>
                  <a:gd name="T50" fmla="*/ 187 w 240"/>
                  <a:gd name="T51" fmla="*/ 157 h 165"/>
                  <a:gd name="T52" fmla="*/ 144 w 240"/>
                  <a:gd name="T53" fmla="*/ 157 h 165"/>
                  <a:gd name="T54" fmla="*/ 140 w 240"/>
                  <a:gd name="T55" fmla="*/ 161 h 165"/>
                  <a:gd name="T56" fmla="*/ 144 w 240"/>
                  <a:gd name="T57" fmla="*/ 165 h 165"/>
                  <a:gd name="T58" fmla="*/ 189 w 240"/>
                  <a:gd name="T59" fmla="*/ 165 h 165"/>
                  <a:gd name="T60" fmla="*/ 192 w 240"/>
                  <a:gd name="T61" fmla="*/ 165 h 165"/>
                  <a:gd name="T62" fmla="*/ 192 w 240"/>
                  <a:gd name="T63" fmla="*/ 165 h 165"/>
                  <a:gd name="T64" fmla="*/ 240 w 240"/>
                  <a:gd name="T65" fmla="*/ 108 h 165"/>
                  <a:gd name="T66" fmla="*/ 197 w 240"/>
                  <a:gd name="T67" fmla="*/ 53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0" h="165">
                    <a:moveTo>
                      <a:pt x="197" y="53"/>
                    </a:moveTo>
                    <a:cubicBezTo>
                      <a:pt x="194" y="23"/>
                      <a:pt x="169" y="0"/>
                      <a:pt x="140" y="0"/>
                    </a:cubicBezTo>
                    <a:cubicBezTo>
                      <a:pt x="116" y="0"/>
                      <a:pt x="94" y="15"/>
                      <a:pt x="86" y="37"/>
                    </a:cubicBezTo>
                    <a:cubicBezTo>
                      <a:pt x="83" y="36"/>
                      <a:pt x="79" y="35"/>
                      <a:pt x="75" y="35"/>
                    </a:cubicBezTo>
                    <a:cubicBezTo>
                      <a:pt x="54" y="35"/>
                      <a:pt x="37" y="51"/>
                      <a:pt x="35" y="72"/>
                    </a:cubicBezTo>
                    <a:cubicBezTo>
                      <a:pt x="15" y="77"/>
                      <a:pt x="0" y="96"/>
                      <a:pt x="0" y="118"/>
                    </a:cubicBezTo>
                    <a:cubicBezTo>
                      <a:pt x="0" y="144"/>
                      <a:pt x="21" y="165"/>
                      <a:pt x="47" y="165"/>
                    </a:cubicBezTo>
                    <a:cubicBezTo>
                      <a:pt x="96" y="165"/>
                      <a:pt x="96" y="165"/>
                      <a:pt x="96" y="165"/>
                    </a:cubicBezTo>
                    <a:cubicBezTo>
                      <a:pt x="98" y="165"/>
                      <a:pt x="100" y="163"/>
                      <a:pt x="100" y="161"/>
                    </a:cubicBezTo>
                    <a:cubicBezTo>
                      <a:pt x="100" y="159"/>
                      <a:pt x="98" y="157"/>
                      <a:pt x="96" y="157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26" y="157"/>
                      <a:pt x="8" y="139"/>
                      <a:pt x="8" y="118"/>
                    </a:cubicBezTo>
                    <a:cubicBezTo>
                      <a:pt x="8" y="99"/>
                      <a:pt x="22" y="83"/>
                      <a:pt x="40" y="79"/>
                    </a:cubicBezTo>
                    <a:cubicBezTo>
                      <a:pt x="44" y="79"/>
                      <a:pt x="44" y="79"/>
                      <a:pt x="44" y="79"/>
                    </a:cubicBezTo>
                    <a:cubicBezTo>
                      <a:pt x="43" y="74"/>
                      <a:pt x="43" y="74"/>
                      <a:pt x="43" y="74"/>
                    </a:cubicBezTo>
                    <a:cubicBezTo>
                      <a:pt x="43" y="57"/>
                      <a:pt x="57" y="43"/>
                      <a:pt x="75" y="43"/>
                    </a:cubicBezTo>
                    <a:cubicBezTo>
                      <a:pt x="79" y="43"/>
                      <a:pt x="83" y="44"/>
                      <a:pt x="87" y="46"/>
                    </a:cubicBezTo>
                    <a:cubicBezTo>
                      <a:pt x="91" y="47"/>
                      <a:pt x="91" y="47"/>
                      <a:pt x="91" y="47"/>
                    </a:cubicBezTo>
                    <a:cubicBezTo>
                      <a:pt x="93" y="43"/>
                      <a:pt x="93" y="43"/>
                      <a:pt x="93" y="43"/>
                    </a:cubicBezTo>
                    <a:cubicBezTo>
                      <a:pt x="99" y="22"/>
                      <a:pt x="118" y="8"/>
                      <a:pt x="140" y="8"/>
                    </a:cubicBezTo>
                    <a:cubicBezTo>
                      <a:pt x="166" y="8"/>
                      <a:pt x="188" y="29"/>
                      <a:pt x="189" y="56"/>
                    </a:cubicBezTo>
                    <a:cubicBezTo>
                      <a:pt x="189" y="59"/>
                      <a:pt x="189" y="59"/>
                      <a:pt x="189" y="59"/>
                    </a:cubicBezTo>
                    <a:cubicBezTo>
                      <a:pt x="192" y="60"/>
                      <a:pt x="192" y="60"/>
                      <a:pt x="192" y="60"/>
                    </a:cubicBezTo>
                    <a:cubicBezTo>
                      <a:pt x="215" y="64"/>
                      <a:pt x="232" y="84"/>
                      <a:pt x="232" y="108"/>
                    </a:cubicBezTo>
                    <a:cubicBezTo>
                      <a:pt x="232" y="133"/>
                      <a:pt x="213" y="154"/>
                      <a:pt x="188" y="157"/>
                    </a:cubicBezTo>
                    <a:cubicBezTo>
                      <a:pt x="187" y="157"/>
                      <a:pt x="187" y="157"/>
                      <a:pt x="187" y="157"/>
                    </a:cubicBezTo>
                    <a:cubicBezTo>
                      <a:pt x="144" y="157"/>
                      <a:pt x="144" y="157"/>
                      <a:pt x="144" y="157"/>
                    </a:cubicBezTo>
                    <a:cubicBezTo>
                      <a:pt x="142" y="157"/>
                      <a:pt x="140" y="159"/>
                      <a:pt x="140" y="161"/>
                    </a:cubicBezTo>
                    <a:cubicBezTo>
                      <a:pt x="140" y="163"/>
                      <a:pt x="142" y="165"/>
                      <a:pt x="144" y="165"/>
                    </a:cubicBezTo>
                    <a:cubicBezTo>
                      <a:pt x="189" y="165"/>
                      <a:pt x="189" y="165"/>
                      <a:pt x="189" y="165"/>
                    </a:cubicBezTo>
                    <a:cubicBezTo>
                      <a:pt x="192" y="165"/>
                      <a:pt x="192" y="165"/>
                      <a:pt x="192" y="165"/>
                    </a:cubicBezTo>
                    <a:cubicBezTo>
                      <a:pt x="192" y="165"/>
                      <a:pt x="192" y="165"/>
                      <a:pt x="192" y="165"/>
                    </a:cubicBezTo>
                    <a:cubicBezTo>
                      <a:pt x="220" y="160"/>
                      <a:pt x="240" y="136"/>
                      <a:pt x="240" y="108"/>
                    </a:cubicBezTo>
                    <a:cubicBezTo>
                      <a:pt x="240" y="82"/>
                      <a:pt x="222" y="59"/>
                      <a:pt x="197" y="53"/>
                    </a:cubicBezTo>
                    <a:close/>
                  </a:path>
                </a:pathLst>
              </a:custGeom>
              <a:solidFill>
                <a:srgbClr val="3F96CE"/>
              </a:solidFill>
              <a:ln w="19050">
                <a:solidFill>
                  <a:srgbClr val="3F96CE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2" name="Gruppieren 31"/>
            <p:cNvGrpSpPr/>
            <p:nvPr/>
          </p:nvGrpSpPr>
          <p:grpSpPr>
            <a:xfrm>
              <a:off x="6705096" y="5316824"/>
              <a:ext cx="541885" cy="747991"/>
              <a:chOff x="4749801" y="4670425"/>
              <a:chExt cx="630238" cy="869950"/>
            </a:xfrm>
          </p:grpSpPr>
          <p:sp>
            <p:nvSpPr>
              <p:cNvPr id="15" name="Freeform 14"/>
              <p:cNvSpPr>
                <a:spLocks/>
              </p:cNvSpPr>
              <p:nvPr/>
            </p:nvSpPr>
            <p:spPr bwMode="auto">
              <a:xfrm>
                <a:off x="4914901" y="4670425"/>
                <a:ext cx="300038" cy="509587"/>
              </a:xfrm>
              <a:custGeom>
                <a:avLst/>
                <a:gdLst>
                  <a:gd name="T0" fmla="*/ 7 w 80"/>
                  <a:gd name="T1" fmla="*/ 43 h 136"/>
                  <a:gd name="T2" fmla="*/ 36 w 80"/>
                  <a:gd name="T3" fmla="*/ 14 h 136"/>
                  <a:gd name="T4" fmla="*/ 36 w 80"/>
                  <a:gd name="T5" fmla="*/ 132 h 136"/>
                  <a:gd name="T6" fmla="*/ 40 w 80"/>
                  <a:gd name="T7" fmla="*/ 136 h 136"/>
                  <a:gd name="T8" fmla="*/ 44 w 80"/>
                  <a:gd name="T9" fmla="*/ 132 h 136"/>
                  <a:gd name="T10" fmla="*/ 44 w 80"/>
                  <a:gd name="T11" fmla="*/ 14 h 136"/>
                  <a:gd name="T12" fmla="*/ 73 w 80"/>
                  <a:gd name="T13" fmla="*/ 43 h 136"/>
                  <a:gd name="T14" fmla="*/ 76 w 80"/>
                  <a:gd name="T15" fmla="*/ 44 h 136"/>
                  <a:gd name="T16" fmla="*/ 79 w 80"/>
                  <a:gd name="T17" fmla="*/ 43 h 136"/>
                  <a:gd name="T18" fmla="*/ 79 w 80"/>
                  <a:gd name="T19" fmla="*/ 37 h 136"/>
                  <a:gd name="T20" fmla="*/ 43 w 80"/>
                  <a:gd name="T21" fmla="*/ 1 h 136"/>
                  <a:gd name="T22" fmla="*/ 37 w 80"/>
                  <a:gd name="T23" fmla="*/ 1 h 136"/>
                  <a:gd name="T24" fmla="*/ 1 w 80"/>
                  <a:gd name="T25" fmla="*/ 37 h 136"/>
                  <a:gd name="T26" fmla="*/ 1 w 80"/>
                  <a:gd name="T27" fmla="*/ 43 h 136"/>
                  <a:gd name="T28" fmla="*/ 7 w 80"/>
                  <a:gd name="T29" fmla="*/ 43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0" h="136">
                    <a:moveTo>
                      <a:pt x="7" y="43"/>
                    </a:moveTo>
                    <a:cubicBezTo>
                      <a:pt x="36" y="14"/>
                      <a:pt x="36" y="14"/>
                      <a:pt x="36" y="14"/>
                    </a:cubicBezTo>
                    <a:cubicBezTo>
                      <a:pt x="36" y="132"/>
                      <a:pt x="36" y="132"/>
                      <a:pt x="36" y="132"/>
                    </a:cubicBezTo>
                    <a:cubicBezTo>
                      <a:pt x="36" y="134"/>
                      <a:pt x="38" y="136"/>
                      <a:pt x="40" y="136"/>
                    </a:cubicBezTo>
                    <a:cubicBezTo>
                      <a:pt x="42" y="136"/>
                      <a:pt x="44" y="134"/>
                      <a:pt x="44" y="132"/>
                    </a:cubicBezTo>
                    <a:cubicBezTo>
                      <a:pt x="44" y="14"/>
                      <a:pt x="44" y="14"/>
                      <a:pt x="44" y="14"/>
                    </a:cubicBezTo>
                    <a:cubicBezTo>
                      <a:pt x="73" y="43"/>
                      <a:pt x="73" y="43"/>
                      <a:pt x="73" y="43"/>
                    </a:cubicBezTo>
                    <a:cubicBezTo>
                      <a:pt x="74" y="44"/>
                      <a:pt x="75" y="44"/>
                      <a:pt x="76" y="44"/>
                    </a:cubicBezTo>
                    <a:cubicBezTo>
                      <a:pt x="77" y="44"/>
                      <a:pt x="78" y="44"/>
                      <a:pt x="79" y="43"/>
                    </a:cubicBezTo>
                    <a:cubicBezTo>
                      <a:pt x="80" y="41"/>
                      <a:pt x="80" y="39"/>
                      <a:pt x="79" y="37"/>
                    </a:cubicBezTo>
                    <a:cubicBezTo>
                      <a:pt x="43" y="1"/>
                      <a:pt x="43" y="1"/>
                      <a:pt x="43" y="1"/>
                    </a:cubicBezTo>
                    <a:cubicBezTo>
                      <a:pt x="41" y="0"/>
                      <a:pt x="39" y="0"/>
                      <a:pt x="37" y="1"/>
                    </a:cubicBezTo>
                    <a:cubicBezTo>
                      <a:pt x="1" y="37"/>
                      <a:pt x="1" y="37"/>
                      <a:pt x="1" y="37"/>
                    </a:cubicBezTo>
                    <a:cubicBezTo>
                      <a:pt x="0" y="39"/>
                      <a:pt x="0" y="41"/>
                      <a:pt x="1" y="43"/>
                    </a:cubicBezTo>
                    <a:cubicBezTo>
                      <a:pt x="3" y="44"/>
                      <a:pt x="5" y="44"/>
                      <a:pt x="7" y="43"/>
                    </a:cubicBezTo>
                    <a:close/>
                  </a:path>
                </a:pathLst>
              </a:custGeom>
              <a:solidFill>
                <a:srgbClr val="3F96CE"/>
              </a:solidFill>
              <a:ln w="3175">
                <a:solidFill>
                  <a:srgbClr val="3F96CE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15"/>
              <p:cNvSpPr>
                <a:spLocks/>
              </p:cNvSpPr>
              <p:nvPr/>
            </p:nvSpPr>
            <p:spPr bwMode="auto">
              <a:xfrm>
                <a:off x="4749801" y="4940300"/>
                <a:ext cx="630238" cy="600075"/>
              </a:xfrm>
              <a:custGeom>
                <a:avLst/>
                <a:gdLst>
                  <a:gd name="T0" fmla="*/ 116 w 168"/>
                  <a:gd name="T1" fmla="*/ 0 h 160"/>
                  <a:gd name="T2" fmla="*/ 112 w 168"/>
                  <a:gd name="T3" fmla="*/ 4 h 160"/>
                  <a:gd name="T4" fmla="*/ 116 w 168"/>
                  <a:gd name="T5" fmla="*/ 8 h 160"/>
                  <a:gd name="T6" fmla="*/ 160 w 168"/>
                  <a:gd name="T7" fmla="*/ 8 h 160"/>
                  <a:gd name="T8" fmla="*/ 160 w 168"/>
                  <a:gd name="T9" fmla="*/ 152 h 160"/>
                  <a:gd name="T10" fmla="*/ 8 w 168"/>
                  <a:gd name="T11" fmla="*/ 152 h 160"/>
                  <a:gd name="T12" fmla="*/ 8 w 168"/>
                  <a:gd name="T13" fmla="*/ 8 h 160"/>
                  <a:gd name="T14" fmla="*/ 52 w 168"/>
                  <a:gd name="T15" fmla="*/ 8 h 160"/>
                  <a:gd name="T16" fmla="*/ 56 w 168"/>
                  <a:gd name="T17" fmla="*/ 4 h 160"/>
                  <a:gd name="T18" fmla="*/ 52 w 168"/>
                  <a:gd name="T19" fmla="*/ 0 h 160"/>
                  <a:gd name="T20" fmla="*/ 0 w 168"/>
                  <a:gd name="T21" fmla="*/ 0 h 160"/>
                  <a:gd name="T22" fmla="*/ 0 w 168"/>
                  <a:gd name="T23" fmla="*/ 160 h 160"/>
                  <a:gd name="T24" fmla="*/ 168 w 168"/>
                  <a:gd name="T25" fmla="*/ 160 h 160"/>
                  <a:gd name="T26" fmla="*/ 168 w 168"/>
                  <a:gd name="T27" fmla="*/ 0 h 160"/>
                  <a:gd name="T28" fmla="*/ 116 w 168"/>
                  <a:gd name="T29" fmla="*/ 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8" h="160">
                    <a:moveTo>
                      <a:pt x="116" y="0"/>
                    </a:moveTo>
                    <a:cubicBezTo>
                      <a:pt x="114" y="0"/>
                      <a:pt x="112" y="2"/>
                      <a:pt x="112" y="4"/>
                    </a:cubicBezTo>
                    <a:cubicBezTo>
                      <a:pt x="112" y="6"/>
                      <a:pt x="114" y="8"/>
                      <a:pt x="116" y="8"/>
                    </a:cubicBezTo>
                    <a:cubicBezTo>
                      <a:pt x="160" y="8"/>
                      <a:pt x="160" y="8"/>
                      <a:pt x="160" y="8"/>
                    </a:cubicBezTo>
                    <a:cubicBezTo>
                      <a:pt x="160" y="152"/>
                      <a:pt x="160" y="152"/>
                      <a:pt x="160" y="152"/>
                    </a:cubicBezTo>
                    <a:cubicBezTo>
                      <a:pt x="8" y="152"/>
                      <a:pt x="8" y="152"/>
                      <a:pt x="8" y="152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4" y="8"/>
                      <a:pt x="56" y="6"/>
                      <a:pt x="56" y="4"/>
                    </a:cubicBezTo>
                    <a:cubicBezTo>
                      <a:pt x="56" y="2"/>
                      <a:pt x="54" y="0"/>
                      <a:pt x="5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168" y="160"/>
                      <a:pt x="168" y="160"/>
                      <a:pt x="168" y="160"/>
                    </a:cubicBezTo>
                    <a:cubicBezTo>
                      <a:pt x="168" y="0"/>
                      <a:pt x="168" y="0"/>
                      <a:pt x="168" y="0"/>
                    </a:cubicBez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3F96CE"/>
              </a:solidFill>
              <a:ln w="19050">
                <a:solidFill>
                  <a:srgbClr val="3F96CE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0" name="Gruppieren 29"/>
            <p:cNvGrpSpPr/>
            <p:nvPr/>
          </p:nvGrpSpPr>
          <p:grpSpPr>
            <a:xfrm>
              <a:off x="10264849" y="5016057"/>
              <a:ext cx="541885" cy="747991"/>
              <a:chOff x="7150101" y="4670425"/>
              <a:chExt cx="630238" cy="869950"/>
            </a:xfrm>
          </p:grpSpPr>
          <p:sp>
            <p:nvSpPr>
              <p:cNvPr id="17" name="Freeform 16"/>
              <p:cNvSpPr>
                <a:spLocks/>
              </p:cNvSpPr>
              <p:nvPr/>
            </p:nvSpPr>
            <p:spPr bwMode="auto">
              <a:xfrm>
                <a:off x="7315201" y="5030788"/>
                <a:ext cx="300038" cy="509587"/>
              </a:xfrm>
              <a:custGeom>
                <a:avLst/>
                <a:gdLst>
                  <a:gd name="T0" fmla="*/ 73 w 80"/>
                  <a:gd name="T1" fmla="*/ 93 h 136"/>
                  <a:gd name="T2" fmla="*/ 44 w 80"/>
                  <a:gd name="T3" fmla="*/ 122 h 136"/>
                  <a:gd name="T4" fmla="*/ 44 w 80"/>
                  <a:gd name="T5" fmla="*/ 4 h 136"/>
                  <a:gd name="T6" fmla="*/ 40 w 80"/>
                  <a:gd name="T7" fmla="*/ 0 h 136"/>
                  <a:gd name="T8" fmla="*/ 36 w 80"/>
                  <a:gd name="T9" fmla="*/ 4 h 136"/>
                  <a:gd name="T10" fmla="*/ 36 w 80"/>
                  <a:gd name="T11" fmla="*/ 122 h 136"/>
                  <a:gd name="T12" fmla="*/ 7 w 80"/>
                  <a:gd name="T13" fmla="*/ 93 h 136"/>
                  <a:gd name="T14" fmla="*/ 1 w 80"/>
                  <a:gd name="T15" fmla="*/ 93 h 136"/>
                  <a:gd name="T16" fmla="*/ 1 w 80"/>
                  <a:gd name="T17" fmla="*/ 99 h 136"/>
                  <a:gd name="T18" fmla="*/ 37 w 80"/>
                  <a:gd name="T19" fmla="*/ 135 h 136"/>
                  <a:gd name="T20" fmla="*/ 40 w 80"/>
                  <a:gd name="T21" fmla="*/ 136 h 136"/>
                  <a:gd name="T22" fmla="*/ 43 w 80"/>
                  <a:gd name="T23" fmla="*/ 135 h 136"/>
                  <a:gd name="T24" fmla="*/ 79 w 80"/>
                  <a:gd name="T25" fmla="*/ 99 h 136"/>
                  <a:gd name="T26" fmla="*/ 79 w 80"/>
                  <a:gd name="T27" fmla="*/ 93 h 136"/>
                  <a:gd name="T28" fmla="*/ 73 w 80"/>
                  <a:gd name="T29" fmla="*/ 93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0" h="136">
                    <a:moveTo>
                      <a:pt x="73" y="93"/>
                    </a:moveTo>
                    <a:cubicBezTo>
                      <a:pt x="44" y="122"/>
                      <a:pt x="44" y="122"/>
                      <a:pt x="44" y="122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2"/>
                      <a:pt x="42" y="0"/>
                      <a:pt x="40" y="0"/>
                    </a:cubicBezTo>
                    <a:cubicBezTo>
                      <a:pt x="38" y="0"/>
                      <a:pt x="36" y="2"/>
                      <a:pt x="36" y="4"/>
                    </a:cubicBezTo>
                    <a:cubicBezTo>
                      <a:pt x="36" y="122"/>
                      <a:pt x="36" y="122"/>
                      <a:pt x="36" y="122"/>
                    </a:cubicBezTo>
                    <a:cubicBezTo>
                      <a:pt x="7" y="93"/>
                      <a:pt x="7" y="93"/>
                      <a:pt x="7" y="93"/>
                    </a:cubicBezTo>
                    <a:cubicBezTo>
                      <a:pt x="5" y="92"/>
                      <a:pt x="3" y="92"/>
                      <a:pt x="1" y="93"/>
                    </a:cubicBezTo>
                    <a:cubicBezTo>
                      <a:pt x="0" y="95"/>
                      <a:pt x="0" y="97"/>
                      <a:pt x="1" y="99"/>
                    </a:cubicBezTo>
                    <a:cubicBezTo>
                      <a:pt x="37" y="135"/>
                      <a:pt x="37" y="135"/>
                      <a:pt x="37" y="135"/>
                    </a:cubicBezTo>
                    <a:cubicBezTo>
                      <a:pt x="38" y="136"/>
                      <a:pt x="39" y="136"/>
                      <a:pt x="40" y="136"/>
                    </a:cubicBezTo>
                    <a:cubicBezTo>
                      <a:pt x="41" y="136"/>
                      <a:pt x="42" y="136"/>
                      <a:pt x="43" y="135"/>
                    </a:cubicBezTo>
                    <a:cubicBezTo>
                      <a:pt x="79" y="99"/>
                      <a:pt x="79" y="99"/>
                      <a:pt x="79" y="99"/>
                    </a:cubicBezTo>
                    <a:cubicBezTo>
                      <a:pt x="80" y="97"/>
                      <a:pt x="80" y="95"/>
                      <a:pt x="79" y="93"/>
                    </a:cubicBezTo>
                    <a:cubicBezTo>
                      <a:pt x="77" y="92"/>
                      <a:pt x="75" y="92"/>
                      <a:pt x="73" y="93"/>
                    </a:cubicBezTo>
                    <a:close/>
                  </a:path>
                </a:pathLst>
              </a:custGeom>
              <a:solidFill>
                <a:srgbClr val="3F96CE"/>
              </a:solidFill>
              <a:ln w="3175">
                <a:solidFill>
                  <a:srgbClr val="3F96CE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7150101" y="4670425"/>
                <a:ext cx="630238" cy="600075"/>
              </a:xfrm>
              <a:custGeom>
                <a:avLst/>
                <a:gdLst>
                  <a:gd name="T0" fmla="*/ 0 w 168"/>
                  <a:gd name="T1" fmla="*/ 0 h 160"/>
                  <a:gd name="T2" fmla="*/ 0 w 168"/>
                  <a:gd name="T3" fmla="*/ 160 h 160"/>
                  <a:gd name="T4" fmla="*/ 52 w 168"/>
                  <a:gd name="T5" fmla="*/ 160 h 160"/>
                  <a:gd name="T6" fmla="*/ 56 w 168"/>
                  <a:gd name="T7" fmla="*/ 156 h 160"/>
                  <a:gd name="T8" fmla="*/ 52 w 168"/>
                  <a:gd name="T9" fmla="*/ 152 h 160"/>
                  <a:gd name="T10" fmla="*/ 8 w 168"/>
                  <a:gd name="T11" fmla="*/ 152 h 160"/>
                  <a:gd name="T12" fmla="*/ 8 w 168"/>
                  <a:gd name="T13" fmla="*/ 8 h 160"/>
                  <a:gd name="T14" fmla="*/ 160 w 168"/>
                  <a:gd name="T15" fmla="*/ 8 h 160"/>
                  <a:gd name="T16" fmla="*/ 160 w 168"/>
                  <a:gd name="T17" fmla="*/ 152 h 160"/>
                  <a:gd name="T18" fmla="*/ 116 w 168"/>
                  <a:gd name="T19" fmla="*/ 152 h 160"/>
                  <a:gd name="T20" fmla="*/ 112 w 168"/>
                  <a:gd name="T21" fmla="*/ 156 h 160"/>
                  <a:gd name="T22" fmla="*/ 116 w 168"/>
                  <a:gd name="T23" fmla="*/ 160 h 160"/>
                  <a:gd name="T24" fmla="*/ 168 w 168"/>
                  <a:gd name="T25" fmla="*/ 160 h 160"/>
                  <a:gd name="T26" fmla="*/ 168 w 168"/>
                  <a:gd name="T27" fmla="*/ 0 h 160"/>
                  <a:gd name="T28" fmla="*/ 0 w 168"/>
                  <a:gd name="T29" fmla="*/ 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8" h="160">
                    <a:moveTo>
                      <a:pt x="0" y="0"/>
                    </a:moveTo>
                    <a:cubicBezTo>
                      <a:pt x="0" y="160"/>
                      <a:pt x="0" y="160"/>
                      <a:pt x="0" y="160"/>
                    </a:cubicBezTo>
                    <a:cubicBezTo>
                      <a:pt x="52" y="160"/>
                      <a:pt x="52" y="160"/>
                      <a:pt x="52" y="160"/>
                    </a:cubicBezTo>
                    <a:cubicBezTo>
                      <a:pt x="54" y="160"/>
                      <a:pt x="56" y="158"/>
                      <a:pt x="56" y="156"/>
                    </a:cubicBezTo>
                    <a:cubicBezTo>
                      <a:pt x="56" y="154"/>
                      <a:pt x="54" y="152"/>
                      <a:pt x="52" y="152"/>
                    </a:cubicBezTo>
                    <a:cubicBezTo>
                      <a:pt x="8" y="152"/>
                      <a:pt x="8" y="152"/>
                      <a:pt x="8" y="152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160" y="8"/>
                      <a:pt x="160" y="8"/>
                      <a:pt x="160" y="8"/>
                    </a:cubicBezTo>
                    <a:cubicBezTo>
                      <a:pt x="160" y="152"/>
                      <a:pt x="160" y="152"/>
                      <a:pt x="160" y="152"/>
                    </a:cubicBezTo>
                    <a:cubicBezTo>
                      <a:pt x="116" y="152"/>
                      <a:pt x="116" y="152"/>
                      <a:pt x="116" y="152"/>
                    </a:cubicBezTo>
                    <a:cubicBezTo>
                      <a:pt x="114" y="152"/>
                      <a:pt x="112" y="154"/>
                      <a:pt x="112" y="156"/>
                    </a:cubicBezTo>
                    <a:cubicBezTo>
                      <a:pt x="112" y="158"/>
                      <a:pt x="114" y="160"/>
                      <a:pt x="116" y="160"/>
                    </a:cubicBezTo>
                    <a:cubicBezTo>
                      <a:pt x="168" y="160"/>
                      <a:pt x="168" y="160"/>
                      <a:pt x="168" y="160"/>
                    </a:cubicBezTo>
                    <a:cubicBezTo>
                      <a:pt x="168" y="0"/>
                      <a:pt x="168" y="0"/>
                      <a:pt x="168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F96CE"/>
              </a:solidFill>
              <a:ln w="19050">
                <a:solidFill>
                  <a:srgbClr val="3F96CE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9" name="Gruppieren 28"/>
            <p:cNvGrpSpPr/>
            <p:nvPr/>
          </p:nvGrpSpPr>
          <p:grpSpPr>
            <a:xfrm>
              <a:off x="1081956" y="5316824"/>
              <a:ext cx="708408" cy="555533"/>
              <a:chOff x="8245476" y="4789488"/>
              <a:chExt cx="823913" cy="646112"/>
            </a:xfrm>
          </p:grpSpPr>
          <p:sp>
            <p:nvSpPr>
              <p:cNvPr id="21" name="Freeform 18"/>
              <p:cNvSpPr>
                <a:spLocks/>
              </p:cNvSpPr>
              <p:nvPr/>
            </p:nvSpPr>
            <p:spPr bwMode="auto">
              <a:xfrm>
                <a:off x="8559801" y="4970463"/>
                <a:ext cx="509588" cy="300037"/>
              </a:xfrm>
              <a:custGeom>
                <a:avLst/>
                <a:gdLst>
                  <a:gd name="T0" fmla="*/ 135 w 136"/>
                  <a:gd name="T1" fmla="*/ 37 h 80"/>
                  <a:gd name="T2" fmla="*/ 99 w 136"/>
                  <a:gd name="T3" fmla="*/ 1 h 80"/>
                  <a:gd name="T4" fmla="*/ 93 w 136"/>
                  <a:gd name="T5" fmla="*/ 1 h 80"/>
                  <a:gd name="T6" fmla="*/ 93 w 136"/>
                  <a:gd name="T7" fmla="*/ 7 h 80"/>
                  <a:gd name="T8" fmla="*/ 122 w 136"/>
                  <a:gd name="T9" fmla="*/ 36 h 80"/>
                  <a:gd name="T10" fmla="*/ 4 w 136"/>
                  <a:gd name="T11" fmla="*/ 36 h 80"/>
                  <a:gd name="T12" fmla="*/ 0 w 136"/>
                  <a:gd name="T13" fmla="*/ 40 h 80"/>
                  <a:gd name="T14" fmla="*/ 4 w 136"/>
                  <a:gd name="T15" fmla="*/ 44 h 80"/>
                  <a:gd name="T16" fmla="*/ 122 w 136"/>
                  <a:gd name="T17" fmla="*/ 44 h 80"/>
                  <a:gd name="T18" fmla="*/ 93 w 136"/>
                  <a:gd name="T19" fmla="*/ 73 h 80"/>
                  <a:gd name="T20" fmla="*/ 93 w 136"/>
                  <a:gd name="T21" fmla="*/ 79 h 80"/>
                  <a:gd name="T22" fmla="*/ 96 w 136"/>
                  <a:gd name="T23" fmla="*/ 80 h 80"/>
                  <a:gd name="T24" fmla="*/ 99 w 136"/>
                  <a:gd name="T25" fmla="*/ 79 h 80"/>
                  <a:gd name="T26" fmla="*/ 135 w 136"/>
                  <a:gd name="T27" fmla="*/ 43 h 80"/>
                  <a:gd name="T28" fmla="*/ 135 w 136"/>
                  <a:gd name="T29" fmla="*/ 37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6" h="80">
                    <a:moveTo>
                      <a:pt x="135" y="37"/>
                    </a:moveTo>
                    <a:cubicBezTo>
                      <a:pt x="99" y="1"/>
                      <a:pt x="99" y="1"/>
                      <a:pt x="99" y="1"/>
                    </a:cubicBezTo>
                    <a:cubicBezTo>
                      <a:pt x="97" y="0"/>
                      <a:pt x="95" y="0"/>
                      <a:pt x="93" y="1"/>
                    </a:cubicBezTo>
                    <a:cubicBezTo>
                      <a:pt x="92" y="3"/>
                      <a:pt x="92" y="5"/>
                      <a:pt x="93" y="7"/>
                    </a:cubicBezTo>
                    <a:cubicBezTo>
                      <a:pt x="122" y="36"/>
                      <a:pt x="122" y="36"/>
                      <a:pt x="122" y="36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2" y="36"/>
                      <a:pt x="0" y="38"/>
                      <a:pt x="0" y="40"/>
                    </a:cubicBezTo>
                    <a:cubicBezTo>
                      <a:pt x="0" y="42"/>
                      <a:pt x="2" y="44"/>
                      <a:pt x="4" y="44"/>
                    </a:cubicBezTo>
                    <a:cubicBezTo>
                      <a:pt x="122" y="44"/>
                      <a:pt x="122" y="44"/>
                      <a:pt x="122" y="44"/>
                    </a:cubicBezTo>
                    <a:cubicBezTo>
                      <a:pt x="93" y="73"/>
                      <a:pt x="93" y="73"/>
                      <a:pt x="93" y="73"/>
                    </a:cubicBezTo>
                    <a:cubicBezTo>
                      <a:pt x="92" y="75"/>
                      <a:pt x="92" y="77"/>
                      <a:pt x="93" y="79"/>
                    </a:cubicBezTo>
                    <a:cubicBezTo>
                      <a:pt x="94" y="80"/>
                      <a:pt x="95" y="80"/>
                      <a:pt x="96" y="80"/>
                    </a:cubicBezTo>
                    <a:cubicBezTo>
                      <a:pt x="97" y="80"/>
                      <a:pt x="98" y="80"/>
                      <a:pt x="99" y="79"/>
                    </a:cubicBezTo>
                    <a:cubicBezTo>
                      <a:pt x="135" y="43"/>
                      <a:pt x="135" y="43"/>
                      <a:pt x="135" y="43"/>
                    </a:cubicBezTo>
                    <a:cubicBezTo>
                      <a:pt x="136" y="41"/>
                      <a:pt x="136" y="39"/>
                      <a:pt x="135" y="37"/>
                    </a:cubicBezTo>
                    <a:close/>
                  </a:path>
                </a:pathLst>
              </a:custGeom>
              <a:solidFill>
                <a:srgbClr val="3F96CE"/>
              </a:solidFill>
              <a:ln w="3175">
                <a:solidFill>
                  <a:srgbClr val="3F96CE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9"/>
              <p:cNvSpPr>
                <a:spLocks/>
              </p:cNvSpPr>
              <p:nvPr/>
            </p:nvSpPr>
            <p:spPr bwMode="auto">
              <a:xfrm>
                <a:off x="8245476" y="4789488"/>
                <a:ext cx="554038" cy="646112"/>
              </a:xfrm>
              <a:custGeom>
                <a:avLst/>
                <a:gdLst>
                  <a:gd name="T0" fmla="*/ 144 w 148"/>
                  <a:gd name="T1" fmla="*/ 136 h 172"/>
                  <a:gd name="T2" fmla="*/ 140 w 148"/>
                  <a:gd name="T3" fmla="*/ 140 h 172"/>
                  <a:gd name="T4" fmla="*/ 140 w 148"/>
                  <a:gd name="T5" fmla="*/ 164 h 172"/>
                  <a:gd name="T6" fmla="*/ 8 w 148"/>
                  <a:gd name="T7" fmla="*/ 164 h 172"/>
                  <a:gd name="T8" fmla="*/ 8 w 148"/>
                  <a:gd name="T9" fmla="*/ 8 h 172"/>
                  <a:gd name="T10" fmla="*/ 140 w 148"/>
                  <a:gd name="T11" fmla="*/ 8 h 172"/>
                  <a:gd name="T12" fmla="*/ 140 w 148"/>
                  <a:gd name="T13" fmla="*/ 36 h 172"/>
                  <a:gd name="T14" fmla="*/ 144 w 148"/>
                  <a:gd name="T15" fmla="*/ 40 h 172"/>
                  <a:gd name="T16" fmla="*/ 148 w 148"/>
                  <a:gd name="T17" fmla="*/ 36 h 172"/>
                  <a:gd name="T18" fmla="*/ 148 w 148"/>
                  <a:gd name="T19" fmla="*/ 0 h 172"/>
                  <a:gd name="T20" fmla="*/ 0 w 148"/>
                  <a:gd name="T21" fmla="*/ 0 h 172"/>
                  <a:gd name="T22" fmla="*/ 0 w 148"/>
                  <a:gd name="T23" fmla="*/ 172 h 172"/>
                  <a:gd name="T24" fmla="*/ 148 w 148"/>
                  <a:gd name="T25" fmla="*/ 172 h 172"/>
                  <a:gd name="T26" fmla="*/ 148 w 148"/>
                  <a:gd name="T27" fmla="*/ 140 h 172"/>
                  <a:gd name="T28" fmla="*/ 144 w 148"/>
                  <a:gd name="T29" fmla="*/ 136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8" h="172">
                    <a:moveTo>
                      <a:pt x="144" y="136"/>
                    </a:moveTo>
                    <a:cubicBezTo>
                      <a:pt x="142" y="136"/>
                      <a:pt x="140" y="138"/>
                      <a:pt x="140" y="140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8" y="164"/>
                      <a:pt x="8" y="164"/>
                      <a:pt x="8" y="164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140" y="8"/>
                      <a:pt x="140" y="8"/>
                      <a:pt x="140" y="8"/>
                    </a:cubicBezTo>
                    <a:cubicBezTo>
                      <a:pt x="140" y="36"/>
                      <a:pt x="140" y="36"/>
                      <a:pt x="140" y="36"/>
                    </a:cubicBezTo>
                    <a:cubicBezTo>
                      <a:pt x="140" y="38"/>
                      <a:pt x="142" y="40"/>
                      <a:pt x="144" y="40"/>
                    </a:cubicBezTo>
                    <a:cubicBezTo>
                      <a:pt x="146" y="40"/>
                      <a:pt x="148" y="38"/>
                      <a:pt x="148" y="36"/>
                    </a:cubicBezTo>
                    <a:cubicBezTo>
                      <a:pt x="148" y="0"/>
                      <a:pt x="148" y="0"/>
                      <a:pt x="14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2"/>
                      <a:pt x="0" y="172"/>
                      <a:pt x="0" y="172"/>
                    </a:cubicBezTo>
                    <a:cubicBezTo>
                      <a:pt x="148" y="172"/>
                      <a:pt x="148" y="172"/>
                      <a:pt x="148" y="172"/>
                    </a:cubicBezTo>
                    <a:cubicBezTo>
                      <a:pt x="148" y="140"/>
                      <a:pt x="148" y="140"/>
                      <a:pt x="148" y="140"/>
                    </a:cubicBezTo>
                    <a:cubicBezTo>
                      <a:pt x="148" y="138"/>
                      <a:pt x="146" y="136"/>
                      <a:pt x="144" y="136"/>
                    </a:cubicBezTo>
                    <a:close/>
                  </a:path>
                </a:pathLst>
              </a:custGeom>
              <a:solidFill>
                <a:srgbClr val="3F96CE"/>
              </a:solidFill>
              <a:ln w="19050">
                <a:solidFill>
                  <a:srgbClr val="3F96CE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cxnSp>
          <p:nvCxnSpPr>
            <p:cNvPr id="102" name="Gerade Verbindung 101"/>
            <p:cNvCxnSpPr/>
            <p:nvPr/>
          </p:nvCxnSpPr>
          <p:spPr>
            <a:xfrm>
              <a:off x="2716739" y="4051807"/>
              <a:ext cx="1648857" cy="60423"/>
            </a:xfrm>
            <a:prstGeom prst="line">
              <a:avLst/>
            </a:prstGeom>
            <a:ln w="19050">
              <a:solidFill>
                <a:srgbClr val="FFFFFF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/>
          </p:nvCxnSpPr>
          <p:spPr>
            <a:xfrm flipV="1">
              <a:off x="2230342" y="3205378"/>
              <a:ext cx="3686231" cy="921793"/>
            </a:xfrm>
            <a:prstGeom prst="line">
              <a:avLst/>
            </a:prstGeom>
            <a:ln w="19050">
              <a:solidFill>
                <a:srgbClr val="3F96CE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/>
          </p:nvCxnSpPr>
          <p:spPr>
            <a:xfrm flipV="1">
              <a:off x="1649329" y="3205377"/>
              <a:ext cx="4267244" cy="2068654"/>
            </a:xfrm>
            <a:prstGeom prst="line">
              <a:avLst/>
            </a:prstGeom>
            <a:ln w="19050">
              <a:solidFill>
                <a:srgbClr val="3F96CE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/>
          </p:nvCxnSpPr>
          <p:spPr>
            <a:xfrm flipV="1">
              <a:off x="4442033" y="3205377"/>
              <a:ext cx="1474540" cy="2347223"/>
            </a:xfrm>
            <a:prstGeom prst="line">
              <a:avLst/>
            </a:prstGeom>
            <a:ln w="19050">
              <a:solidFill>
                <a:srgbClr val="3F96CE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Freeform 6"/>
            <p:cNvSpPr>
              <a:spLocks noEditPoints="1"/>
            </p:cNvSpPr>
            <p:nvPr/>
          </p:nvSpPr>
          <p:spPr bwMode="auto">
            <a:xfrm>
              <a:off x="10034232" y="1406700"/>
              <a:ext cx="630548" cy="660725"/>
            </a:xfrm>
            <a:custGeom>
              <a:avLst/>
              <a:gdLst>
                <a:gd name="T0" fmla="*/ 104 w 168"/>
                <a:gd name="T1" fmla="*/ 151 h 176"/>
                <a:gd name="T2" fmla="*/ 98 w 168"/>
                <a:gd name="T3" fmla="*/ 141 h 176"/>
                <a:gd name="T4" fmla="*/ 88 w 168"/>
                <a:gd name="T5" fmla="*/ 136 h 176"/>
                <a:gd name="T6" fmla="*/ 135 w 168"/>
                <a:gd name="T7" fmla="*/ 116 h 176"/>
                <a:gd name="T8" fmla="*/ 159 w 168"/>
                <a:gd name="T9" fmla="*/ 106 h 176"/>
                <a:gd name="T10" fmla="*/ 160 w 168"/>
                <a:gd name="T11" fmla="*/ 63 h 176"/>
                <a:gd name="T12" fmla="*/ 145 w 168"/>
                <a:gd name="T13" fmla="*/ 53 h 176"/>
                <a:gd name="T14" fmla="*/ 128 w 168"/>
                <a:gd name="T15" fmla="*/ 16 h 176"/>
                <a:gd name="T16" fmla="*/ 57 w 168"/>
                <a:gd name="T17" fmla="*/ 9 h 176"/>
                <a:gd name="T18" fmla="*/ 37 w 168"/>
                <a:gd name="T19" fmla="*/ 32 h 176"/>
                <a:gd name="T20" fmla="*/ 11 w 168"/>
                <a:gd name="T21" fmla="*/ 45 h 176"/>
                <a:gd name="T22" fmla="*/ 12 w 168"/>
                <a:gd name="T23" fmla="*/ 104 h 176"/>
                <a:gd name="T24" fmla="*/ 42 w 168"/>
                <a:gd name="T25" fmla="*/ 116 h 176"/>
                <a:gd name="T26" fmla="*/ 79 w 168"/>
                <a:gd name="T27" fmla="*/ 136 h 176"/>
                <a:gd name="T28" fmla="*/ 69 w 168"/>
                <a:gd name="T29" fmla="*/ 141 h 176"/>
                <a:gd name="T30" fmla="*/ 64 w 168"/>
                <a:gd name="T31" fmla="*/ 151 h 176"/>
                <a:gd name="T32" fmla="*/ 0 w 168"/>
                <a:gd name="T33" fmla="*/ 156 h 176"/>
                <a:gd name="T34" fmla="*/ 64 w 168"/>
                <a:gd name="T35" fmla="*/ 160 h 176"/>
                <a:gd name="T36" fmla="*/ 69 w 168"/>
                <a:gd name="T37" fmla="*/ 170 h 176"/>
                <a:gd name="T38" fmla="*/ 98 w 168"/>
                <a:gd name="T39" fmla="*/ 170 h 176"/>
                <a:gd name="T40" fmla="*/ 104 w 168"/>
                <a:gd name="T41" fmla="*/ 160 h 176"/>
                <a:gd name="T42" fmla="*/ 168 w 168"/>
                <a:gd name="T43" fmla="*/ 156 h 176"/>
                <a:gd name="T44" fmla="*/ 42 w 168"/>
                <a:gd name="T45" fmla="*/ 107 h 176"/>
                <a:gd name="T46" fmla="*/ 18 w 168"/>
                <a:gd name="T47" fmla="*/ 97 h 176"/>
                <a:gd name="T48" fmla="*/ 18 w 168"/>
                <a:gd name="T49" fmla="*/ 51 h 176"/>
                <a:gd name="T50" fmla="*/ 44 w 168"/>
                <a:gd name="T51" fmla="*/ 38 h 176"/>
                <a:gd name="T52" fmla="*/ 88 w 168"/>
                <a:gd name="T53" fmla="*/ 9 h 176"/>
                <a:gd name="T54" fmla="*/ 135 w 168"/>
                <a:gd name="T55" fmla="*/ 57 h 176"/>
                <a:gd name="T56" fmla="*/ 153 w 168"/>
                <a:gd name="T57" fmla="*/ 69 h 176"/>
                <a:gd name="T58" fmla="*/ 152 w 168"/>
                <a:gd name="T59" fmla="*/ 100 h 176"/>
                <a:gd name="T60" fmla="*/ 152 w 168"/>
                <a:gd name="T61" fmla="*/ 100 h 176"/>
                <a:gd name="T62" fmla="*/ 42 w 168"/>
                <a:gd name="T63" fmla="*/ 107 h 176"/>
                <a:gd name="T64" fmla="*/ 84 w 168"/>
                <a:gd name="T65" fmla="*/ 173 h 176"/>
                <a:gd name="T66" fmla="*/ 67 w 168"/>
                <a:gd name="T67" fmla="*/ 156 h 176"/>
                <a:gd name="T68" fmla="*/ 84 w 168"/>
                <a:gd name="T69" fmla="*/ 139 h 176"/>
                <a:gd name="T70" fmla="*/ 100 w 168"/>
                <a:gd name="T71" fmla="*/ 15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8" h="176">
                  <a:moveTo>
                    <a:pt x="163" y="151"/>
                  </a:moveTo>
                  <a:cubicBezTo>
                    <a:pt x="104" y="151"/>
                    <a:pt x="104" y="151"/>
                    <a:pt x="104" y="151"/>
                  </a:cubicBezTo>
                  <a:cubicBezTo>
                    <a:pt x="103" y="150"/>
                    <a:pt x="103" y="150"/>
                    <a:pt x="103" y="150"/>
                  </a:cubicBezTo>
                  <a:cubicBezTo>
                    <a:pt x="102" y="147"/>
                    <a:pt x="101" y="144"/>
                    <a:pt x="98" y="141"/>
                  </a:cubicBezTo>
                  <a:cubicBezTo>
                    <a:pt x="96" y="139"/>
                    <a:pt x="93" y="137"/>
                    <a:pt x="90" y="136"/>
                  </a:cubicBezTo>
                  <a:cubicBezTo>
                    <a:pt x="88" y="136"/>
                    <a:pt x="88" y="136"/>
                    <a:pt x="88" y="136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135" y="116"/>
                    <a:pt x="135" y="116"/>
                    <a:pt x="135" y="116"/>
                  </a:cubicBezTo>
                  <a:cubicBezTo>
                    <a:pt x="144" y="116"/>
                    <a:pt x="152" y="113"/>
                    <a:pt x="158" y="107"/>
                  </a:cubicBezTo>
                  <a:cubicBezTo>
                    <a:pt x="159" y="106"/>
                    <a:pt x="159" y="106"/>
                    <a:pt x="159" y="106"/>
                  </a:cubicBezTo>
                  <a:cubicBezTo>
                    <a:pt x="165" y="100"/>
                    <a:pt x="168" y="92"/>
                    <a:pt x="168" y="84"/>
                  </a:cubicBezTo>
                  <a:cubicBezTo>
                    <a:pt x="168" y="76"/>
                    <a:pt x="165" y="69"/>
                    <a:pt x="160" y="63"/>
                  </a:cubicBezTo>
                  <a:cubicBezTo>
                    <a:pt x="156" y="59"/>
                    <a:pt x="151" y="55"/>
                    <a:pt x="146" y="53"/>
                  </a:cubicBezTo>
                  <a:cubicBezTo>
                    <a:pt x="145" y="53"/>
                    <a:pt x="145" y="53"/>
                    <a:pt x="145" y="53"/>
                  </a:cubicBezTo>
                  <a:cubicBezTo>
                    <a:pt x="144" y="52"/>
                    <a:pt x="144" y="52"/>
                    <a:pt x="144" y="52"/>
                  </a:cubicBezTo>
                  <a:cubicBezTo>
                    <a:pt x="143" y="38"/>
                    <a:pt x="137" y="26"/>
                    <a:pt x="128" y="16"/>
                  </a:cubicBezTo>
                  <a:cubicBezTo>
                    <a:pt x="117" y="6"/>
                    <a:pt x="103" y="0"/>
                    <a:pt x="88" y="0"/>
                  </a:cubicBezTo>
                  <a:cubicBezTo>
                    <a:pt x="77" y="0"/>
                    <a:pt x="66" y="3"/>
                    <a:pt x="57" y="9"/>
                  </a:cubicBezTo>
                  <a:cubicBezTo>
                    <a:pt x="49" y="15"/>
                    <a:pt x="42" y="22"/>
                    <a:pt x="37" y="31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27" y="33"/>
                    <a:pt x="18" y="38"/>
                    <a:pt x="11" y="45"/>
                  </a:cubicBezTo>
                  <a:cubicBezTo>
                    <a:pt x="4" y="53"/>
                    <a:pt x="0" y="63"/>
                    <a:pt x="0" y="74"/>
                  </a:cubicBezTo>
                  <a:cubicBezTo>
                    <a:pt x="0" y="85"/>
                    <a:pt x="4" y="96"/>
                    <a:pt x="12" y="104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21" y="112"/>
                    <a:pt x="31" y="116"/>
                    <a:pt x="42" y="116"/>
                  </a:cubicBezTo>
                  <a:cubicBezTo>
                    <a:pt x="79" y="116"/>
                    <a:pt x="79" y="116"/>
                    <a:pt x="79" y="116"/>
                  </a:cubicBezTo>
                  <a:cubicBezTo>
                    <a:pt x="79" y="136"/>
                    <a:pt x="79" y="136"/>
                    <a:pt x="79" y="136"/>
                  </a:cubicBezTo>
                  <a:cubicBezTo>
                    <a:pt x="78" y="136"/>
                    <a:pt x="78" y="136"/>
                    <a:pt x="78" y="136"/>
                  </a:cubicBezTo>
                  <a:cubicBezTo>
                    <a:pt x="75" y="137"/>
                    <a:pt x="72" y="139"/>
                    <a:pt x="69" y="141"/>
                  </a:cubicBezTo>
                  <a:cubicBezTo>
                    <a:pt x="67" y="144"/>
                    <a:pt x="65" y="147"/>
                    <a:pt x="64" y="150"/>
                  </a:cubicBezTo>
                  <a:cubicBezTo>
                    <a:pt x="64" y="151"/>
                    <a:pt x="64" y="151"/>
                    <a:pt x="64" y="151"/>
                  </a:cubicBezTo>
                  <a:cubicBezTo>
                    <a:pt x="4" y="151"/>
                    <a:pt x="4" y="151"/>
                    <a:pt x="4" y="151"/>
                  </a:cubicBezTo>
                  <a:cubicBezTo>
                    <a:pt x="2" y="151"/>
                    <a:pt x="0" y="153"/>
                    <a:pt x="0" y="156"/>
                  </a:cubicBezTo>
                  <a:cubicBezTo>
                    <a:pt x="0" y="158"/>
                    <a:pt x="2" y="160"/>
                    <a:pt x="4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4" y="162"/>
                    <a:pt x="64" y="162"/>
                    <a:pt x="64" y="162"/>
                  </a:cubicBezTo>
                  <a:cubicBezTo>
                    <a:pt x="65" y="165"/>
                    <a:pt x="67" y="168"/>
                    <a:pt x="69" y="170"/>
                  </a:cubicBezTo>
                  <a:cubicBezTo>
                    <a:pt x="73" y="174"/>
                    <a:pt x="78" y="176"/>
                    <a:pt x="84" y="176"/>
                  </a:cubicBezTo>
                  <a:cubicBezTo>
                    <a:pt x="89" y="176"/>
                    <a:pt x="94" y="174"/>
                    <a:pt x="98" y="170"/>
                  </a:cubicBezTo>
                  <a:cubicBezTo>
                    <a:pt x="101" y="168"/>
                    <a:pt x="103" y="165"/>
                    <a:pt x="103" y="162"/>
                  </a:cubicBezTo>
                  <a:cubicBezTo>
                    <a:pt x="104" y="160"/>
                    <a:pt x="104" y="160"/>
                    <a:pt x="104" y="160"/>
                  </a:cubicBezTo>
                  <a:cubicBezTo>
                    <a:pt x="163" y="160"/>
                    <a:pt x="163" y="160"/>
                    <a:pt x="163" y="160"/>
                  </a:cubicBezTo>
                  <a:cubicBezTo>
                    <a:pt x="166" y="160"/>
                    <a:pt x="168" y="158"/>
                    <a:pt x="168" y="156"/>
                  </a:cubicBezTo>
                  <a:cubicBezTo>
                    <a:pt x="168" y="153"/>
                    <a:pt x="166" y="151"/>
                    <a:pt x="163" y="151"/>
                  </a:cubicBezTo>
                  <a:close/>
                  <a:moveTo>
                    <a:pt x="42" y="107"/>
                  </a:moveTo>
                  <a:cubicBezTo>
                    <a:pt x="34" y="107"/>
                    <a:pt x="26" y="104"/>
                    <a:pt x="20" y="98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2" y="91"/>
                    <a:pt x="9" y="82"/>
                    <a:pt x="9" y="74"/>
                  </a:cubicBezTo>
                  <a:cubicBezTo>
                    <a:pt x="9" y="65"/>
                    <a:pt x="12" y="57"/>
                    <a:pt x="18" y="51"/>
                  </a:cubicBezTo>
                  <a:cubicBezTo>
                    <a:pt x="24" y="45"/>
                    <a:pt x="32" y="41"/>
                    <a:pt x="40" y="41"/>
                  </a:cubicBezTo>
                  <a:cubicBezTo>
                    <a:pt x="42" y="41"/>
                    <a:pt x="44" y="39"/>
                    <a:pt x="44" y="38"/>
                  </a:cubicBezTo>
                  <a:cubicBezTo>
                    <a:pt x="48" y="29"/>
                    <a:pt x="54" y="22"/>
                    <a:pt x="62" y="17"/>
                  </a:cubicBezTo>
                  <a:cubicBezTo>
                    <a:pt x="70" y="12"/>
                    <a:pt x="79" y="9"/>
                    <a:pt x="88" y="9"/>
                  </a:cubicBezTo>
                  <a:cubicBezTo>
                    <a:pt x="101" y="9"/>
                    <a:pt x="113" y="14"/>
                    <a:pt x="122" y="23"/>
                  </a:cubicBezTo>
                  <a:cubicBezTo>
                    <a:pt x="130" y="32"/>
                    <a:pt x="135" y="44"/>
                    <a:pt x="135" y="57"/>
                  </a:cubicBezTo>
                  <a:cubicBezTo>
                    <a:pt x="135" y="59"/>
                    <a:pt x="137" y="61"/>
                    <a:pt x="139" y="61"/>
                  </a:cubicBezTo>
                  <a:cubicBezTo>
                    <a:pt x="145" y="62"/>
                    <a:pt x="150" y="65"/>
                    <a:pt x="153" y="69"/>
                  </a:cubicBezTo>
                  <a:cubicBezTo>
                    <a:pt x="157" y="73"/>
                    <a:pt x="158" y="78"/>
                    <a:pt x="158" y="84"/>
                  </a:cubicBezTo>
                  <a:cubicBezTo>
                    <a:pt x="158" y="90"/>
                    <a:pt x="156" y="95"/>
                    <a:pt x="152" y="100"/>
                  </a:cubicBezTo>
                  <a:cubicBezTo>
                    <a:pt x="152" y="100"/>
                    <a:pt x="152" y="100"/>
                    <a:pt x="152" y="100"/>
                  </a:cubicBezTo>
                  <a:cubicBezTo>
                    <a:pt x="152" y="100"/>
                    <a:pt x="152" y="100"/>
                    <a:pt x="152" y="100"/>
                  </a:cubicBezTo>
                  <a:cubicBezTo>
                    <a:pt x="147" y="105"/>
                    <a:pt x="142" y="107"/>
                    <a:pt x="136" y="107"/>
                  </a:cubicBezTo>
                  <a:lnTo>
                    <a:pt x="42" y="107"/>
                  </a:lnTo>
                  <a:close/>
                  <a:moveTo>
                    <a:pt x="96" y="168"/>
                  </a:moveTo>
                  <a:cubicBezTo>
                    <a:pt x="92" y="171"/>
                    <a:pt x="88" y="173"/>
                    <a:pt x="84" y="173"/>
                  </a:cubicBezTo>
                  <a:cubicBezTo>
                    <a:pt x="79" y="173"/>
                    <a:pt x="75" y="171"/>
                    <a:pt x="72" y="168"/>
                  </a:cubicBezTo>
                  <a:cubicBezTo>
                    <a:pt x="69" y="165"/>
                    <a:pt x="67" y="160"/>
                    <a:pt x="67" y="156"/>
                  </a:cubicBezTo>
                  <a:cubicBezTo>
                    <a:pt x="67" y="151"/>
                    <a:pt x="69" y="147"/>
                    <a:pt x="72" y="144"/>
                  </a:cubicBezTo>
                  <a:cubicBezTo>
                    <a:pt x="75" y="141"/>
                    <a:pt x="79" y="139"/>
                    <a:pt x="84" y="139"/>
                  </a:cubicBezTo>
                  <a:cubicBezTo>
                    <a:pt x="88" y="139"/>
                    <a:pt x="92" y="141"/>
                    <a:pt x="96" y="144"/>
                  </a:cubicBezTo>
                  <a:cubicBezTo>
                    <a:pt x="99" y="147"/>
                    <a:pt x="100" y="151"/>
                    <a:pt x="100" y="156"/>
                  </a:cubicBezTo>
                  <a:cubicBezTo>
                    <a:pt x="100" y="160"/>
                    <a:pt x="99" y="165"/>
                    <a:pt x="96" y="168"/>
                  </a:cubicBezTo>
                  <a:close/>
                </a:path>
              </a:pathLst>
            </a:custGeom>
            <a:solidFill>
              <a:srgbClr val="3F96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7"/>
            <p:cNvSpPr>
              <a:spLocks noEditPoints="1"/>
            </p:cNvSpPr>
            <p:nvPr/>
          </p:nvSpPr>
          <p:spPr bwMode="auto">
            <a:xfrm>
              <a:off x="2733168" y="5006690"/>
              <a:ext cx="896290" cy="846622"/>
            </a:xfrm>
            <a:custGeom>
              <a:avLst/>
              <a:gdLst>
                <a:gd name="T0" fmla="*/ 145 w 168"/>
                <a:gd name="T1" fmla="*/ 53 h 159"/>
                <a:gd name="T2" fmla="*/ 128 w 168"/>
                <a:gd name="T3" fmla="*/ 17 h 159"/>
                <a:gd name="T4" fmla="*/ 57 w 168"/>
                <a:gd name="T5" fmla="*/ 9 h 159"/>
                <a:gd name="T6" fmla="*/ 37 w 168"/>
                <a:gd name="T7" fmla="*/ 32 h 159"/>
                <a:gd name="T8" fmla="*/ 12 w 168"/>
                <a:gd name="T9" fmla="*/ 45 h 159"/>
                <a:gd name="T10" fmla="*/ 13 w 168"/>
                <a:gd name="T11" fmla="*/ 104 h 159"/>
                <a:gd name="T12" fmla="*/ 43 w 168"/>
                <a:gd name="T13" fmla="*/ 116 h 159"/>
                <a:gd name="T14" fmla="*/ 61 w 168"/>
                <a:gd name="T15" fmla="*/ 136 h 159"/>
                <a:gd name="T16" fmla="*/ 47 w 168"/>
                <a:gd name="T17" fmla="*/ 131 h 159"/>
                <a:gd name="T18" fmla="*/ 30 w 168"/>
                <a:gd name="T19" fmla="*/ 145 h 159"/>
                <a:gd name="T20" fmla="*/ 47 w 168"/>
                <a:gd name="T21" fmla="*/ 159 h 159"/>
                <a:gd name="T22" fmla="*/ 65 w 168"/>
                <a:gd name="T23" fmla="*/ 145 h 159"/>
                <a:gd name="T24" fmla="*/ 65 w 168"/>
                <a:gd name="T25" fmla="*/ 76 h 159"/>
                <a:gd name="T26" fmla="*/ 108 w 168"/>
                <a:gd name="T27" fmla="*/ 125 h 159"/>
                <a:gd name="T28" fmla="*/ 82 w 168"/>
                <a:gd name="T29" fmla="*/ 124 h 159"/>
                <a:gd name="T30" fmla="*/ 82 w 168"/>
                <a:gd name="T31" fmla="*/ 144 h 159"/>
                <a:gd name="T32" fmla="*/ 107 w 168"/>
                <a:gd name="T33" fmla="*/ 144 h 159"/>
                <a:gd name="T34" fmla="*/ 112 w 168"/>
                <a:gd name="T35" fmla="*/ 116 h 159"/>
                <a:gd name="T36" fmla="*/ 158 w 168"/>
                <a:gd name="T37" fmla="*/ 107 h 159"/>
                <a:gd name="T38" fmla="*/ 168 w 168"/>
                <a:gd name="T39" fmla="*/ 84 h 159"/>
                <a:gd name="T40" fmla="*/ 146 w 168"/>
                <a:gd name="T41" fmla="*/ 53 h 159"/>
                <a:gd name="T42" fmla="*/ 47 w 168"/>
                <a:gd name="T43" fmla="*/ 155 h 159"/>
                <a:gd name="T44" fmla="*/ 34 w 168"/>
                <a:gd name="T45" fmla="*/ 145 h 159"/>
                <a:gd name="T46" fmla="*/ 57 w 168"/>
                <a:gd name="T47" fmla="*/ 138 h 159"/>
                <a:gd name="T48" fmla="*/ 57 w 168"/>
                <a:gd name="T49" fmla="*/ 152 h 159"/>
                <a:gd name="T50" fmla="*/ 94 w 168"/>
                <a:gd name="T51" fmla="*/ 145 h 159"/>
                <a:gd name="T52" fmla="*/ 84 w 168"/>
                <a:gd name="T53" fmla="*/ 141 h 159"/>
                <a:gd name="T54" fmla="*/ 85 w 168"/>
                <a:gd name="T55" fmla="*/ 127 h 159"/>
                <a:gd name="T56" fmla="*/ 105 w 168"/>
                <a:gd name="T57" fmla="*/ 128 h 159"/>
                <a:gd name="T58" fmla="*/ 104 w 168"/>
                <a:gd name="T59" fmla="*/ 141 h 159"/>
                <a:gd name="T60" fmla="*/ 154 w 168"/>
                <a:gd name="T61" fmla="*/ 99 h 159"/>
                <a:gd name="T62" fmla="*/ 136 w 168"/>
                <a:gd name="T63" fmla="*/ 107 h 159"/>
                <a:gd name="T64" fmla="*/ 112 w 168"/>
                <a:gd name="T65" fmla="*/ 107 h 159"/>
                <a:gd name="T66" fmla="*/ 112 w 168"/>
                <a:gd name="T67" fmla="*/ 63 h 159"/>
                <a:gd name="T68" fmla="*/ 109 w 168"/>
                <a:gd name="T69" fmla="*/ 62 h 159"/>
                <a:gd name="T70" fmla="*/ 61 w 168"/>
                <a:gd name="T71" fmla="*/ 75 h 159"/>
                <a:gd name="T72" fmla="*/ 43 w 168"/>
                <a:gd name="T73" fmla="*/ 107 h 159"/>
                <a:gd name="T74" fmla="*/ 19 w 168"/>
                <a:gd name="T75" fmla="*/ 97 h 159"/>
                <a:gd name="T76" fmla="*/ 18 w 168"/>
                <a:gd name="T77" fmla="*/ 51 h 159"/>
                <a:gd name="T78" fmla="*/ 45 w 168"/>
                <a:gd name="T79" fmla="*/ 38 h 159"/>
                <a:gd name="T80" fmla="*/ 88 w 168"/>
                <a:gd name="T81" fmla="*/ 9 h 159"/>
                <a:gd name="T82" fmla="*/ 136 w 168"/>
                <a:gd name="T83" fmla="*/ 57 h 159"/>
                <a:gd name="T84" fmla="*/ 153 w 168"/>
                <a:gd name="T85" fmla="*/ 69 h 159"/>
                <a:gd name="T86" fmla="*/ 154 w 168"/>
                <a:gd name="T87" fmla="*/ 9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8" h="159">
                  <a:moveTo>
                    <a:pt x="146" y="53"/>
                  </a:moveTo>
                  <a:cubicBezTo>
                    <a:pt x="145" y="53"/>
                    <a:pt x="145" y="53"/>
                    <a:pt x="145" y="53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4" y="38"/>
                    <a:pt x="138" y="26"/>
                    <a:pt x="128" y="17"/>
                  </a:cubicBezTo>
                  <a:cubicBezTo>
                    <a:pt x="118" y="6"/>
                    <a:pt x="103" y="0"/>
                    <a:pt x="88" y="0"/>
                  </a:cubicBezTo>
                  <a:cubicBezTo>
                    <a:pt x="77" y="0"/>
                    <a:pt x="66" y="3"/>
                    <a:pt x="57" y="9"/>
                  </a:cubicBezTo>
                  <a:cubicBezTo>
                    <a:pt x="49" y="15"/>
                    <a:pt x="42" y="22"/>
                    <a:pt x="38" y="31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27" y="33"/>
                    <a:pt x="18" y="38"/>
                    <a:pt x="12" y="45"/>
                  </a:cubicBezTo>
                  <a:cubicBezTo>
                    <a:pt x="4" y="53"/>
                    <a:pt x="0" y="63"/>
                    <a:pt x="0" y="74"/>
                  </a:cubicBezTo>
                  <a:cubicBezTo>
                    <a:pt x="0" y="85"/>
                    <a:pt x="5" y="96"/>
                    <a:pt x="13" y="104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22" y="112"/>
                    <a:pt x="32" y="116"/>
                    <a:pt x="43" y="116"/>
                  </a:cubicBezTo>
                  <a:cubicBezTo>
                    <a:pt x="61" y="116"/>
                    <a:pt x="61" y="116"/>
                    <a:pt x="61" y="116"/>
                  </a:cubicBezTo>
                  <a:cubicBezTo>
                    <a:pt x="61" y="136"/>
                    <a:pt x="61" y="136"/>
                    <a:pt x="61" y="136"/>
                  </a:cubicBezTo>
                  <a:cubicBezTo>
                    <a:pt x="58" y="134"/>
                    <a:pt x="58" y="134"/>
                    <a:pt x="58" y="134"/>
                  </a:cubicBezTo>
                  <a:cubicBezTo>
                    <a:pt x="55" y="132"/>
                    <a:pt x="51" y="131"/>
                    <a:pt x="47" y="131"/>
                  </a:cubicBezTo>
                  <a:cubicBezTo>
                    <a:pt x="43" y="131"/>
                    <a:pt x="38" y="133"/>
                    <a:pt x="35" y="135"/>
                  </a:cubicBezTo>
                  <a:cubicBezTo>
                    <a:pt x="32" y="138"/>
                    <a:pt x="30" y="141"/>
                    <a:pt x="30" y="145"/>
                  </a:cubicBezTo>
                  <a:cubicBezTo>
                    <a:pt x="30" y="149"/>
                    <a:pt x="32" y="153"/>
                    <a:pt x="35" y="155"/>
                  </a:cubicBezTo>
                  <a:cubicBezTo>
                    <a:pt x="38" y="158"/>
                    <a:pt x="43" y="159"/>
                    <a:pt x="47" y="159"/>
                  </a:cubicBezTo>
                  <a:cubicBezTo>
                    <a:pt x="52" y="159"/>
                    <a:pt x="56" y="158"/>
                    <a:pt x="59" y="155"/>
                  </a:cubicBezTo>
                  <a:cubicBezTo>
                    <a:pt x="63" y="153"/>
                    <a:pt x="65" y="149"/>
                    <a:pt x="65" y="145"/>
                  </a:cubicBezTo>
                  <a:cubicBezTo>
                    <a:pt x="65" y="145"/>
                    <a:pt x="65" y="145"/>
                    <a:pt x="65" y="145"/>
                  </a:cubicBezTo>
                  <a:cubicBezTo>
                    <a:pt x="65" y="76"/>
                    <a:pt x="65" y="76"/>
                    <a:pt x="65" y="76"/>
                  </a:cubicBezTo>
                  <a:cubicBezTo>
                    <a:pt x="108" y="66"/>
                    <a:pt x="108" y="66"/>
                    <a:pt x="108" y="66"/>
                  </a:cubicBezTo>
                  <a:cubicBezTo>
                    <a:pt x="108" y="125"/>
                    <a:pt x="108" y="125"/>
                    <a:pt x="108" y="125"/>
                  </a:cubicBezTo>
                  <a:cubicBezTo>
                    <a:pt x="105" y="123"/>
                    <a:pt x="105" y="123"/>
                    <a:pt x="105" y="123"/>
                  </a:cubicBezTo>
                  <a:cubicBezTo>
                    <a:pt x="98" y="119"/>
                    <a:pt x="88" y="120"/>
                    <a:pt x="82" y="124"/>
                  </a:cubicBezTo>
                  <a:cubicBezTo>
                    <a:pt x="79" y="127"/>
                    <a:pt x="77" y="131"/>
                    <a:pt x="77" y="134"/>
                  </a:cubicBezTo>
                  <a:cubicBezTo>
                    <a:pt x="77" y="138"/>
                    <a:pt x="79" y="142"/>
                    <a:pt x="82" y="144"/>
                  </a:cubicBezTo>
                  <a:cubicBezTo>
                    <a:pt x="82" y="144"/>
                    <a:pt x="82" y="144"/>
                    <a:pt x="82" y="144"/>
                  </a:cubicBezTo>
                  <a:cubicBezTo>
                    <a:pt x="89" y="150"/>
                    <a:pt x="100" y="150"/>
                    <a:pt x="107" y="144"/>
                  </a:cubicBezTo>
                  <a:cubicBezTo>
                    <a:pt x="110" y="142"/>
                    <a:pt x="112" y="138"/>
                    <a:pt x="112" y="134"/>
                  </a:cubicBezTo>
                  <a:cubicBezTo>
                    <a:pt x="112" y="116"/>
                    <a:pt x="112" y="116"/>
                    <a:pt x="112" y="116"/>
                  </a:cubicBezTo>
                  <a:cubicBezTo>
                    <a:pt x="136" y="116"/>
                    <a:pt x="136" y="116"/>
                    <a:pt x="136" y="116"/>
                  </a:cubicBezTo>
                  <a:cubicBezTo>
                    <a:pt x="144" y="116"/>
                    <a:pt x="152" y="113"/>
                    <a:pt x="158" y="107"/>
                  </a:cubicBezTo>
                  <a:cubicBezTo>
                    <a:pt x="160" y="105"/>
                    <a:pt x="160" y="105"/>
                    <a:pt x="160" y="105"/>
                  </a:cubicBezTo>
                  <a:cubicBezTo>
                    <a:pt x="165" y="100"/>
                    <a:pt x="168" y="92"/>
                    <a:pt x="168" y="84"/>
                  </a:cubicBezTo>
                  <a:cubicBezTo>
                    <a:pt x="168" y="76"/>
                    <a:pt x="165" y="69"/>
                    <a:pt x="160" y="63"/>
                  </a:cubicBezTo>
                  <a:cubicBezTo>
                    <a:pt x="157" y="59"/>
                    <a:pt x="152" y="55"/>
                    <a:pt x="146" y="53"/>
                  </a:cubicBezTo>
                  <a:close/>
                  <a:moveTo>
                    <a:pt x="57" y="152"/>
                  </a:moveTo>
                  <a:cubicBezTo>
                    <a:pt x="54" y="154"/>
                    <a:pt x="51" y="155"/>
                    <a:pt x="47" y="155"/>
                  </a:cubicBezTo>
                  <a:cubicBezTo>
                    <a:pt x="43" y="155"/>
                    <a:pt x="40" y="154"/>
                    <a:pt x="37" y="152"/>
                  </a:cubicBezTo>
                  <a:cubicBezTo>
                    <a:pt x="35" y="150"/>
                    <a:pt x="34" y="148"/>
                    <a:pt x="34" y="145"/>
                  </a:cubicBezTo>
                  <a:cubicBezTo>
                    <a:pt x="34" y="143"/>
                    <a:pt x="35" y="140"/>
                    <a:pt x="37" y="138"/>
                  </a:cubicBezTo>
                  <a:cubicBezTo>
                    <a:pt x="43" y="134"/>
                    <a:pt x="52" y="134"/>
                    <a:pt x="57" y="138"/>
                  </a:cubicBezTo>
                  <a:cubicBezTo>
                    <a:pt x="59" y="140"/>
                    <a:pt x="61" y="143"/>
                    <a:pt x="61" y="145"/>
                  </a:cubicBezTo>
                  <a:cubicBezTo>
                    <a:pt x="61" y="148"/>
                    <a:pt x="59" y="150"/>
                    <a:pt x="57" y="152"/>
                  </a:cubicBezTo>
                  <a:close/>
                  <a:moveTo>
                    <a:pt x="104" y="141"/>
                  </a:moveTo>
                  <a:cubicBezTo>
                    <a:pt x="102" y="143"/>
                    <a:pt x="98" y="145"/>
                    <a:pt x="94" y="145"/>
                  </a:cubicBezTo>
                  <a:cubicBezTo>
                    <a:pt x="91" y="145"/>
                    <a:pt x="87" y="143"/>
                    <a:pt x="85" y="141"/>
                  </a:cubicBezTo>
                  <a:cubicBezTo>
                    <a:pt x="84" y="141"/>
                    <a:pt x="84" y="141"/>
                    <a:pt x="84" y="141"/>
                  </a:cubicBezTo>
                  <a:cubicBezTo>
                    <a:pt x="82" y="139"/>
                    <a:pt x="81" y="137"/>
                    <a:pt x="81" y="134"/>
                  </a:cubicBezTo>
                  <a:cubicBezTo>
                    <a:pt x="81" y="132"/>
                    <a:pt x="82" y="129"/>
                    <a:pt x="85" y="127"/>
                  </a:cubicBezTo>
                  <a:cubicBezTo>
                    <a:pt x="90" y="123"/>
                    <a:pt x="99" y="123"/>
                    <a:pt x="104" y="127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7" y="130"/>
                    <a:pt x="108" y="132"/>
                    <a:pt x="108" y="134"/>
                  </a:cubicBezTo>
                  <a:cubicBezTo>
                    <a:pt x="108" y="137"/>
                    <a:pt x="107" y="140"/>
                    <a:pt x="104" y="141"/>
                  </a:cubicBezTo>
                  <a:close/>
                  <a:moveTo>
                    <a:pt x="154" y="99"/>
                  </a:moveTo>
                  <a:cubicBezTo>
                    <a:pt x="154" y="99"/>
                    <a:pt x="154" y="99"/>
                    <a:pt x="154" y="99"/>
                  </a:cubicBezTo>
                  <a:cubicBezTo>
                    <a:pt x="152" y="100"/>
                    <a:pt x="152" y="100"/>
                    <a:pt x="152" y="100"/>
                  </a:cubicBezTo>
                  <a:cubicBezTo>
                    <a:pt x="148" y="105"/>
                    <a:pt x="142" y="107"/>
                    <a:pt x="136" y="107"/>
                  </a:cubicBezTo>
                  <a:cubicBezTo>
                    <a:pt x="114" y="107"/>
                    <a:pt x="114" y="107"/>
                    <a:pt x="114" y="107"/>
                  </a:cubicBezTo>
                  <a:cubicBezTo>
                    <a:pt x="112" y="107"/>
                    <a:pt x="112" y="107"/>
                    <a:pt x="112" y="107"/>
                  </a:cubicBezTo>
                  <a:cubicBezTo>
                    <a:pt x="112" y="64"/>
                    <a:pt x="112" y="64"/>
                    <a:pt x="112" y="64"/>
                  </a:cubicBezTo>
                  <a:cubicBezTo>
                    <a:pt x="112" y="64"/>
                    <a:pt x="112" y="63"/>
                    <a:pt x="112" y="63"/>
                  </a:cubicBezTo>
                  <a:cubicBezTo>
                    <a:pt x="112" y="63"/>
                    <a:pt x="112" y="63"/>
                    <a:pt x="112" y="63"/>
                  </a:cubicBezTo>
                  <a:cubicBezTo>
                    <a:pt x="111" y="62"/>
                    <a:pt x="110" y="62"/>
                    <a:pt x="109" y="62"/>
                  </a:cubicBezTo>
                  <a:cubicBezTo>
                    <a:pt x="62" y="73"/>
                    <a:pt x="62" y="73"/>
                    <a:pt x="62" y="73"/>
                  </a:cubicBezTo>
                  <a:cubicBezTo>
                    <a:pt x="61" y="73"/>
                    <a:pt x="61" y="74"/>
                    <a:pt x="61" y="75"/>
                  </a:cubicBezTo>
                  <a:cubicBezTo>
                    <a:pt x="61" y="107"/>
                    <a:pt x="61" y="107"/>
                    <a:pt x="61" y="107"/>
                  </a:cubicBezTo>
                  <a:cubicBezTo>
                    <a:pt x="43" y="107"/>
                    <a:pt x="43" y="107"/>
                    <a:pt x="43" y="107"/>
                  </a:cubicBezTo>
                  <a:cubicBezTo>
                    <a:pt x="34" y="107"/>
                    <a:pt x="26" y="104"/>
                    <a:pt x="20" y="98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13" y="91"/>
                    <a:pt x="9" y="83"/>
                    <a:pt x="9" y="74"/>
                  </a:cubicBezTo>
                  <a:cubicBezTo>
                    <a:pt x="9" y="65"/>
                    <a:pt x="13" y="57"/>
                    <a:pt x="18" y="51"/>
                  </a:cubicBezTo>
                  <a:cubicBezTo>
                    <a:pt x="24" y="45"/>
                    <a:pt x="32" y="41"/>
                    <a:pt x="40" y="41"/>
                  </a:cubicBezTo>
                  <a:cubicBezTo>
                    <a:pt x="42" y="41"/>
                    <a:pt x="44" y="40"/>
                    <a:pt x="45" y="38"/>
                  </a:cubicBezTo>
                  <a:cubicBezTo>
                    <a:pt x="48" y="29"/>
                    <a:pt x="54" y="22"/>
                    <a:pt x="62" y="17"/>
                  </a:cubicBezTo>
                  <a:cubicBezTo>
                    <a:pt x="70" y="12"/>
                    <a:pt x="79" y="9"/>
                    <a:pt x="88" y="9"/>
                  </a:cubicBezTo>
                  <a:cubicBezTo>
                    <a:pt x="101" y="9"/>
                    <a:pt x="113" y="14"/>
                    <a:pt x="122" y="23"/>
                  </a:cubicBezTo>
                  <a:cubicBezTo>
                    <a:pt x="131" y="32"/>
                    <a:pt x="136" y="44"/>
                    <a:pt x="136" y="57"/>
                  </a:cubicBezTo>
                  <a:cubicBezTo>
                    <a:pt x="136" y="59"/>
                    <a:pt x="137" y="61"/>
                    <a:pt x="140" y="61"/>
                  </a:cubicBezTo>
                  <a:cubicBezTo>
                    <a:pt x="145" y="62"/>
                    <a:pt x="150" y="65"/>
                    <a:pt x="153" y="69"/>
                  </a:cubicBezTo>
                  <a:cubicBezTo>
                    <a:pt x="157" y="73"/>
                    <a:pt x="159" y="79"/>
                    <a:pt x="159" y="84"/>
                  </a:cubicBezTo>
                  <a:cubicBezTo>
                    <a:pt x="159" y="89"/>
                    <a:pt x="157" y="94"/>
                    <a:pt x="154" y="99"/>
                  </a:cubicBezTo>
                  <a:close/>
                </a:path>
              </a:pathLst>
            </a:custGeom>
            <a:solidFill>
              <a:srgbClr val="3F96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grpSp>
          <p:nvGrpSpPr>
            <p:cNvPr id="60" name="Gruppieren 59"/>
            <p:cNvGrpSpPr/>
            <p:nvPr/>
          </p:nvGrpSpPr>
          <p:grpSpPr>
            <a:xfrm>
              <a:off x="8571711" y="5407715"/>
              <a:ext cx="786869" cy="780385"/>
              <a:chOff x="10196513" y="1252538"/>
              <a:chExt cx="577850" cy="573088"/>
            </a:xfrm>
          </p:grpSpPr>
          <p:sp>
            <p:nvSpPr>
              <p:cNvPr id="50" name="Freeform 8"/>
              <p:cNvSpPr>
                <a:spLocks/>
              </p:cNvSpPr>
              <p:nvPr/>
            </p:nvSpPr>
            <p:spPr bwMode="auto">
              <a:xfrm>
                <a:off x="10317163" y="1285875"/>
                <a:ext cx="44450" cy="198438"/>
              </a:xfrm>
              <a:custGeom>
                <a:avLst/>
                <a:gdLst>
                  <a:gd name="T0" fmla="*/ 8 w 12"/>
                  <a:gd name="T1" fmla="*/ 53 h 53"/>
                  <a:gd name="T2" fmla="*/ 10 w 12"/>
                  <a:gd name="T3" fmla="*/ 53 h 53"/>
                  <a:gd name="T4" fmla="*/ 11 w 12"/>
                  <a:gd name="T5" fmla="*/ 53 h 53"/>
                  <a:gd name="T6" fmla="*/ 12 w 12"/>
                  <a:gd name="T7" fmla="*/ 52 h 53"/>
                  <a:gd name="T8" fmla="*/ 12 w 12"/>
                  <a:gd name="T9" fmla="*/ 50 h 53"/>
                  <a:gd name="T10" fmla="*/ 4 w 12"/>
                  <a:gd name="T11" fmla="*/ 27 h 53"/>
                  <a:gd name="T12" fmla="*/ 12 w 12"/>
                  <a:gd name="T13" fmla="*/ 3 h 53"/>
                  <a:gd name="T14" fmla="*/ 11 w 12"/>
                  <a:gd name="T15" fmla="*/ 0 h 53"/>
                  <a:gd name="T16" fmla="*/ 10 w 12"/>
                  <a:gd name="T17" fmla="*/ 0 h 53"/>
                  <a:gd name="T18" fmla="*/ 8 w 12"/>
                  <a:gd name="T19" fmla="*/ 1 h 53"/>
                  <a:gd name="T20" fmla="*/ 0 w 12"/>
                  <a:gd name="T21" fmla="*/ 27 h 53"/>
                  <a:gd name="T22" fmla="*/ 8 w 12"/>
                  <a:gd name="T23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" h="53">
                    <a:moveTo>
                      <a:pt x="8" y="53"/>
                    </a:moveTo>
                    <a:cubicBezTo>
                      <a:pt x="9" y="53"/>
                      <a:pt x="9" y="53"/>
                      <a:pt x="10" y="53"/>
                    </a:cubicBezTo>
                    <a:cubicBezTo>
                      <a:pt x="10" y="53"/>
                      <a:pt x="11" y="53"/>
                      <a:pt x="11" y="53"/>
                    </a:cubicBezTo>
                    <a:cubicBezTo>
                      <a:pt x="12" y="53"/>
                      <a:pt x="12" y="52"/>
                      <a:pt x="12" y="52"/>
                    </a:cubicBezTo>
                    <a:cubicBezTo>
                      <a:pt x="12" y="51"/>
                      <a:pt x="12" y="51"/>
                      <a:pt x="12" y="50"/>
                    </a:cubicBezTo>
                    <a:cubicBezTo>
                      <a:pt x="7" y="43"/>
                      <a:pt x="4" y="35"/>
                      <a:pt x="4" y="27"/>
                    </a:cubicBezTo>
                    <a:cubicBezTo>
                      <a:pt x="4" y="18"/>
                      <a:pt x="7" y="10"/>
                      <a:pt x="12" y="3"/>
                    </a:cubicBezTo>
                    <a:cubicBezTo>
                      <a:pt x="12" y="2"/>
                      <a:pt x="12" y="1"/>
                      <a:pt x="11" y="0"/>
                    </a:cubicBezTo>
                    <a:cubicBezTo>
                      <a:pt x="11" y="0"/>
                      <a:pt x="10" y="0"/>
                      <a:pt x="10" y="0"/>
                    </a:cubicBezTo>
                    <a:cubicBezTo>
                      <a:pt x="9" y="0"/>
                      <a:pt x="9" y="0"/>
                      <a:pt x="8" y="1"/>
                    </a:cubicBezTo>
                    <a:cubicBezTo>
                      <a:pt x="3" y="8"/>
                      <a:pt x="0" y="17"/>
                      <a:pt x="0" y="27"/>
                    </a:cubicBezTo>
                    <a:cubicBezTo>
                      <a:pt x="0" y="36"/>
                      <a:pt x="3" y="45"/>
                      <a:pt x="8" y="53"/>
                    </a:cubicBezTo>
                    <a:close/>
                  </a:path>
                </a:pathLst>
              </a:custGeom>
              <a:solidFill>
                <a:srgbClr val="3F96CE"/>
              </a:solidFill>
              <a:ln w="1905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2" name="Freeform 9"/>
              <p:cNvSpPr>
                <a:spLocks/>
              </p:cNvSpPr>
              <p:nvPr/>
            </p:nvSpPr>
            <p:spPr bwMode="auto">
              <a:xfrm>
                <a:off x="10572751" y="1320800"/>
                <a:ext cx="33338" cy="134938"/>
              </a:xfrm>
              <a:custGeom>
                <a:avLst/>
                <a:gdLst>
                  <a:gd name="T0" fmla="*/ 5 w 9"/>
                  <a:gd name="T1" fmla="*/ 18 h 36"/>
                  <a:gd name="T2" fmla="*/ 1 w 9"/>
                  <a:gd name="T3" fmla="*/ 32 h 36"/>
                  <a:gd name="T4" fmla="*/ 0 w 9"/>
                  <a:gd name="T5" fmla="*/ 34 h 36"/>
                  <a:gd name="T6" fmla="*/ 1 w 9"/>
                  <a:gd name="T7" fmla="*/ 35 h 36"/>
                  <a:gd name="T8" fmla="*/ 4 w 9"/>
                  <a:gd name="T9" fmla="*/ 35 h 36"/>
                  <a:gd name="T10" fmla="*/ 9 w 9"/>
                  <a:gd name="T11" fmla="*/ 18 h 36"/>
                  <a:gd name="T12" fmla="*/ 4 w 9"/>
                  <a:gd name="T13" fmla="*/ 1 h 36"/>
                  <a:gd name="T14" fmla="*/ 2 w 9"/>
                  <a:gd name="T15" fmla="*/ 0 h 36"/>
                  <a:gd name="T16" fmla="*/ 1 w 9"/>
                  <a:gd name="T17" fmla="*/ 0 h 36"/>
                  <a:gd name="T18" fmla="*/ 0 w 9"/>
                  <a:gd name="T19" fmla="*/ 2 h 36"/>
                  <a:gd name="T20" fmla="*/ 1 w 9"/>
                  <a:gd name="T21" fmla="*/ 3 h 36"/>
                  <a:gd name="T22" fmla="*/ 5 w 9"/>
                  <a:gd name="T23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36">
                    <a:moveTo>
                      <a:pt x="5" y="18"/>
                    </a:moveTo>
                    <a:cubicBezTo>
                      <a:pt x="5" y="23"/>
                      <a:pt x="4" y="28"/>
                      <a:pt x="1" y="32"/>
                    </a:cubicBezTo>
                    <a:cubicBezTo>
                      <a:pt x="0" y="33"/>
                      <a:pt x="0" y="33"/>
                      <a:pt x="0" y="34"/>
                    </a:cubicBezTo>
                    <a:cubicBezTo>
                      <a:pt x="0" y="34"/>
                      <a:pt x="1" y="35"/>
                      <a:pt x="1" y="35"/>
                    </a:cubicBezTo>
                    <a:cubicBezTo>
                      <a:pt x="2" y="36"/>
                      <a:pt x="3" y="35"/>
                      <a:pt x="4" y="35"/>
                    </a:cubicBezTo>
                    <a:cubicBezTo>
                      <a:pt x="7" y="30"/>
                      <a:pt x="9" y="24"/>
                      <a:pt x="9" y="18"/>
                    </a:cubicBezTo>
                    <a:cubicBezTo>
                      <a:pt x="9" y="12"/>
                      <a:pt x="7" y="6"/>
                      <a:pt x="4" y="1"/>
                    </a:cubicBezTo>
                    <a:cubicBezTo>
                      <a:pt x="4" y="0"/>
                      <a:pt x="3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1"/>
                      <a:pt x="0" y="1"/>
                      <a:pt x="0" y="2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" y="7"/>
                      <a:pt x="5" y="12"/>
                      <a:pt x="5" y="18"/>
                    </a:cubicBezTo>
                    <a:close/>
                  </a:path>
                </a:pathLst>
              </a:custGeom>
              <a:solidFill>
                <a:srgbClr val="3F96CE"/>
              </a:solidFill>
              <a:ln w="1905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4" name="Freeform 10"/>
              <p:cNvSpPr>
                <a:spLocks/>
              </p:cNvSpPr>
              <p:nvPr/>
            </p:nvSpPr>
            <p:spPr bwMode="auto">
              <a:xfrm>
                <a:off x="10380663" y="1320800"/>
                <a:ext cx="30163" cy="130175"/>
              </a:xfrm>
              <a:custGeom>
                <a:avLst/>
                <a:gdLst>
                  <a:gd name="T0" fmla="*/ 5 w 8"/>
                  <a:gd name="T1" fmla="*/ 35 h 35"/>
                  <a:gd name="T2" fmla="*/ 6 w 8"/>
                  <a:gd name="T3" fmla="*/ 35 h 35"/>
                  <a:gd name="T4" fmla="*/ 8 w 8"/>
                  <a:gd name="T5" fmla="*/ 35 h 35"/>
                  <a:gd name="T6" fmla="*/ 8 w 8"/>
                  <a:gd name="T7" fmla="*/ 34 h 35"/>
                  <a:gd name="T8" fmla="*/ 8 w 8"/>
                  <a:gd name="T9" fmla="*/ 32 h 35"/>
                  <a:gd name="T10" fmla="*/ 4 w 8"/>
                  <a:gd name="T11" fmla="*/ 18 h 35"/>
                  <a:gd name="T12" fmla="*/ 8 w 8"/>
                  <a:gd name="T13" fmla="*/ 3 h 35"/>
                  <a:gd name="T14" fmla="*/ 8 w 8"/>
                  <a:gd name="T15" fmla="*/ 2 h 35"/>
                  <a:gd name="T16" fmla="*/ 8 w 8"/>
                  <a:gd name="T17" fmla="*/ 0 h 35"/>
                  <a:gd name="T18" fmla="*/ 6 w 8"/>
                  <a:gd name="T19" fmla="*/ 0 h 35"/>
                  <a:gd name="T20" fmla="*/ 5 w 8"/>
                  <a:gd name="T21" fmla="*/ 1 h 35"/>
                  <a:gd name="T22" fmla="*/ 0 w 8"/>
                  <a:gd name="T23" fmla="*/ 18 h 35"/>
                  <a:gd name="T24" fmla="*/ 5 w 8"/>
                  <a:gd name="T2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35">
                    <a:moveTo>
                      <a:pt x="5" y="35"/>
                    </a:moveTo>
                    <a:cubicBezTo>
                      <a:pt x="5" y="35"/>
                      <a:pt x="6" y="35"/>
                      <a:pt x="6" y="35"/>
                    </a:cubicBezTo>
                    <a:cubicBezTo>
                      <a:pt x="7" y="35"/>
                      <a:pt x="7" y="35"/>
                      <a:pt x="8" y="35"/>
                    </a:cubicBezTo>
                    <a:cubicBezTo>
                      <a:pt x="8" y="35"/>
                      <a:pt x="8" y="34"/>
                      <a:pt x="8" y="34"/>
                    </a:cubicBezTo>
                    <a:cubicBezTo>
                      <a:pt x="8" y="33"/>
                      <a:pt x="8" y="33"/>
                      <a:pt x="8" y="32"/>
                    </a:cubicBezTo>
                    <a:cubicBezTo>
                      <a:pt x="5" y="28"/>
                      <a:pt x="4" y="23"/>
                      <a:pt x="4" y="18"/>
                    </a:cubicBezTo>
                    <a:cubicBezTo>
                      <a:pt x="4" y="12"/>
                      <a:pt x="5" y="7"/>
                      <a:pt x="8" y="3"/>
                    </a:cubicBezTo>
                    <a:cubicBezTo>
                      <a:pt x="8" y="3"/>
                      <a:pt x="8" y="2"/>
                      <a:pt x="8" y="2"/>
                    </a:cubicBezTo>
                    <a:cubicBezTo>
                      <a:pt x="8" y="1"/>
                      <a:pt x="8" y="1"/>
                      <a:pt x="8" y="0"/>
                    </a:cubicBezTo>
                    <a:cubicBezTo>
                      <a:pt x="7" y="0"/>
                      <a:pt x="7" y="0"/>
                      <a:pt x="6" y="0"/>
                    </a:cubicBezTo>
                    <a:cubicBezTo>
                      <a:pt x="6" y="0"/>
                      <a:pt x="5" y="0"/>
                      <a:pt x="5" y="1"/>
                    </a:cubicBezTo>
                    <a:cubicBezTo>
                      <a:pt x="1" y="6"/>
                      <a:pt x="0" y="12"/>
                      <a:pt x="0" y="18"/>
                    </a:cubicBezTo>
                    <a:cubicBezTo>
                      <a:pt x="0" y="24"/>
                      <a:pt x="1" y="30"/>
                      <a:pt x="5" y="35"/>
                    </a:cubicBezTo>
                    <a:close/>
                  </a:path>
                </a:pathLst>
              </a:custGeom>
              <a:solidFill>
                <a:srgbClr val="3F96CE"/>
              </a:solidFill>
              <a:ln w="1905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5" name="Freeform 11"/>
              <p:cNvSpPr>
                <a:spLocks noEditPoints="1"/>
              </p:cNvSpPr>
              <p:nvPr/>
            </p:nvSpPr>
            <p:spPr bwMode="auto">
              <a:xfrm>
                <a:off x="10196513" y="1335088"/>
                <a:ext cx="577850" cy="490538"/>
              </a:xfrm>
              <a:custGeom>
                <a:avLst/>
                <a:gdLst>
                  <a:gd name="T0" fmla="*/ 138 w 154"/>
                  <a:gd name="T1" fmla="*/ 69 h 131"/>
                  <a:gd name="T2" fmla="*/ 134 w 154"/>
                  <a:gd name="T3" fmla="*/ 64 h 131"/>
                  <a:gd name="T4" fmla="*/ 104 w 154"/>
                  <a:gd name="T5" fmla="*/ 57 h 131"/>
                  <a:gd name="T6" fmla="*/ 92 w 154"/>
                  <a:gd name="T7" fmla="*/ 66 h 131"/>
                  <a:gd name="T8" fmla="*/ 85 w 154"/>
                  <a:gd name="T9" fmla="*/ 67 h 131"/>
                  <a:gd name="T10" fmla="*/ 85 w 154"/>
                  <a:gd name="T11" fmla="*/ 26 h 131"/>
                  <a:gd name="T12" fmla="*/ 93 w 154"/>
                  <a:gd name="T13" fmla="*/ 14 h 131"/>
                  <a:gd name="T14" fmla="*/ 79 w 154"/>
                  <a:gd name="T15" fmla="*/ 0 h 131"/>
                  <a:gd name="T16" fmla="*/ 65 w 154"/>
                  <a:gd name="T17" fmla="*/ 14 h 131"/>
                  <a:gd name="T18" fmla="*/ 74 w 154"/>
                  <a:gd name="T19" fmla="*/ 27 h 131"/>
                  <a:gd name="T20" fmla="*/ 70 w 154"/>
                  <a:gd name="T21" fmla="*/ 68 h 131"/>
                  <a:gd name="T22" fmla="*/ 62 w 154"/>
                  <a:gd name="T23" fmla="*/ 67 h 131"/>
                  <a:gd name="T24" fmla="*/ 39 w 154"/>
                  <a:gd name="T25" fmla="*/ 55 h 131"/>
                  <a:gd name="T26" fmla="*/ 20 w 154"/>
                  <a:gd name="T27" fmla="*/ 64 h 131"/>
                  <a:gd name="T28" fmla="*/ 15 w 154"/>
                  <a:gd name="T29" fmla="*/ 69 h 131"/>
                  <a:gd name="T30" fmla="*/ 1 w 154"/>
                  <a:gd name="T31" fmla="*/ 81 h 131"/>
                  <a:gd name="T32" fmla="*/ 6 w 154"/>
                  <a:gd name="T33" fmla="*/ 103 h 131"/>
                  <a:gd name="T34" fmla="*/ 20 w 154"/>
                  <a:gd name="T35" fmla="*/ 109 h 131"/>
                  <a:gd name="T36" fmla="*/ 33 w 154"/>
                  <a:gd name="T37" fmla="*/ 116 h 131"/>
                  <a:gd name="T38" fmla="*/ 56 w 154"/>
                  <a:gd name="T39" fmla="*/ 131 h 131"/>
                  <a:gd name="T40" fmla="*/ 116 w 154"/>
                  <a:gd name="T41" fmla="*/ 126 h 131"/>
                  <a:gd name="T42" fmla="*/ 122 w 154"/>
                  <a:gd name="T43" fmla="*/ 112 h 131"/>
                  <a:gd name="T44" fmla="*/ 141 w 154"/>
                  <a:gd name="T45" fmla="*/ 108 h 131"/>
                  <a:gd name="T46" fmla="*/ 154 w 154"/>
                  <a:gd name="T47" fmla="*/ 89 h 131"/>
                  <a:gd name="T48" fmla="*/ 72 w 154"/>
                  <a:gd name="T49" fmla="*/ 21 h 131"/>
                  <a:gd name="T50" fmla="*/ 71 w 154"/>
                  <a:gd name="T51" fmla="*/ 7 h 131"/>
                  <a:gd name="T52" fmla="*/ 86 w 154"/>
                  <a:gd name="T53" fmla="*/ 7 h 131"/>
                  <a:gd name="T54" fmla="*/ 85 w 154"/>
                  <a:gd name="T55" fmla="*/ 21 h 131"/>
                  <a:gd name="T56" fmla="*/ 32 w 154"/>
                  <a:gd name="T57" fmla="*/ 103 h 131"/>
                  <a:gd name="T58" fmla="*/ 20 w 154"/>
                  <a:gd name="T59" fmla="*/ 105 h 131"/>
                  <a:gd name="T60" fmla="*/ 5 w 154"/>
                  <a:gd name="T61" fmla="*/ 95 h 131"/>
                  <a:gd name="T62" fmla="*/ 8 w 154"/>
                  <a:gd name="T63" fmla="*/ 77 h 131"/>
                  <a:gd name="T64" fmla="*/ 19 w 154"/>
                  <a:gd name="T65" fmla="*/ 71 h 131"/>
                  <a:gd name="T66" fmla="*/ 33 w 154"/>
                  <a:gd name="T67" fmla="*/ 60 h 131"/>
                  <a:gd name="T68" fmla="*/ 55 w 154"/>
                  <a:gd name="T69" fmla="*/ 65 h 131"/>
                  <a:gd name="T70" fmla="*/ 60 w 154"/>
                  <a:gd name="T71" fmla="*/ 73 h 131"/>
                  <a:gd name="T72" fmla="*/ 51 w 154"/>
                  <a:gd name="T73" fmla="*/ 83 h 131"/>
                  <a:gd name="T74" fmla="*/ 38 w 154"/>
                  <a:gd name="T75" fmla="*/ 90 h 131"/>
                  <a:gd name="T76" fmla="*/ 114 w 154"/>
                  <a:gd name="T77" fmla="*/ 123 h 131"/>
                  <a:gd name="T78" fmla="*/ 56 w 154"/>
                  <a:gd name="T79" fmla="*/ 127 h 131"/>
                  <a:gd name="T80" fmla="*/ 41 w 154"/>
                  <a:gd name="T81" fmla="*/ 121 h 131"/>
                  <a:gd name="T82" fmla="*/ 37 w 154"/>
                  <a:gd name="T83" fmla="*/ 99 h 131"/>
                  <a:gd name="T84" fmla="*/ 53 w 154"/>
                  <a:gd name="T85" fmla="*/ 87 h 131"/>
                  <a:gd name="T86" fmla="*/ 54 w 154"/>
                  <a:gd name="T87" fmla="*/ 85 h 131"/>
                  <a:gd name="T88" fmla="*/ 89 w 154"/>
                  <a:gd name="T89" fmla="*/ 73 h 131"/>
                  <a:gd name="T90" fmla="*/ 106 w 154"/>
                  <a:gd name="T91" fmla="*/ 96 h 131"/>
                  <a:gd name="T92" fmla="*/ 117 w 154"/>
                  <a:gd name="T93" fmla="*/ 118 h 131"/>
                  <a:gd name="T94" fmla="*/ 140 w 154"/>
                  <a:gd name="T95" fmla="*/ 104 h 131"/>
                  <a:gd name="T96" fmla="*/ 120 w 154"/>
                  <a:gd name="T97" fmla="*/ 104 h 131"/>
                  <a:gd name="T98" fmla="*/ 110 w 154"/>
                  <a:gd name="T99" fmla="*/ 94 h 131"/>
                  <a:gd name="T100" fmla="*/ 96 w 154"/>
                  <a:gd name="T101" fmla="*/ 72 h 131"/>
                  <a:gd name="T102" fmla="*/ 98 w 154"/>
                  <a:gd name="T103" fmla="*/ 66 h 131"/>
                  <a:gd name="T104" fmla="*/ 105 w 154"/>
                  <a:gd name="T105" fmla="*/ 61 h 131"/>
                  <a:gd name="T106" fmla="*/ 131 w 154"/>
                  <a:gd name="T107" fmla="*/ 66 h 131"/>
                  <a:gd name="T108" fmla="*/ 136 w 154"/>
                  <a:gd name="T109" fmla="*/ 72 h 131"/>
                  <a:gd name="T110" fmla="*/ 149 w 154"/>
                  <a:gd name="T111" fmla="*/ 82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54" h="131">
                    <a:moveTo>
                      <a:pt x="148" y="75"/>
                    </a:moveTo>
                    <a:cubicBezTo>
                      <a:pt x="147" y="73"/>
                      <a:pt x="145" y="71"/>
                      <a:pt x="143" y="70"/>
                    </a:cubicBezTo>
                    <a:cubicBezTo>
                      <a:pt x="141" y="70"/>
                      <a:pt x="140" y="69"/>
                      <a:pt x="138" y="69"/>
                    </a:cubicBezTo>
                    <a:cubicBezTo>
                      <a:pt x="137" y="68"/>
                      <a:pt x="137" y="68"/>
                      <a:pt x="137" y="68"/>
                    </a:cubicBezTo>
                    <a:cubicBezTo>
                      <a:pt x="137" y="68"/>
                      <a:pt x="137" y="68"/>
                      <a:pt x="137" y="68"/>
                    </a:cubicBezTo>
                    <a:cubicBezTo>
                      <a:pt x="136" y="66"/>
                      <a:pt x="135" y="65"/>
                      <a:pt x="134" y="64"/>
                    </a:cubicBezTo>
                    <a:cubicBezTo>
                      <a:pt x="132" y="62"/>
                      <a:pt x="131" y="61"/>
                      <a:pt x="129" y="59"/>
                    </a:cubicBezTo>
                    <a:cubicBezTo>
                      <a:pt x="126" y="58"/>
                      <a:pt x="124" y="57"/>
                      <a:pt x="122" y="56"/>
                    </a:cubicBezTo>
                    <a:cubicBezTo>
                      <a:pt x="116" y="54"/>
                      <a:pt x="110" y="55"/>
                      <a:pt x="104" y="57"/>
                    </a:cubicBezTo>
                    <a:cubicBezTo>
                      <a:pt x="101" y="58"/>
                      <a:pt x="98" y="60"/>
                      <a:pt x="95" y="63"/>
                    </a:cubicBezTo>
                    <a:cubicBezTo>
                      <a:pt x="95" y="63"/>
                      <a:pt x="95" y="63"/>
                      <a:pt x="95" y="63"/>
                    </a:cubicBezTo>
                    <a:cubicBezTo>
                      <a:pt x="94" y="64"/>
                      <a:pt x="93" y="65"/>
                      <a:pt x="92" y="66"/>
                    </a:cubicBezTo>
                    <a:cubicBezTo>
                      <a:pt x="91" y="69"/>
                      <a:pt x="91" y="69"/>
                      <a:pt x="91" y="69"/>
                    </a:cubicBezTo>
                    <a:cubicBezTo>
                      <a:pt x="89" y="68"/>
                      <a:pt x="89" y="68"/>
                      <a:pt x="89" y="68"/>
                    </a:cubicBezTo>
                    <a:cubicBezTo>
                      <a:pt x="88" y="68"/>
                      <a:pt x="87" y="68"/>
                      <a:pt x="85" y="67"/>
                    </a:cubicBezTo>
                    <a:cubicBezTo>
                      <a:pt x="83" y="67"/>
                      <a:pt x="83" y="67"/>
                      <a:pt x="83" y="67"/>
                    </a:cubicBezTo>
                    <a:cubicBezTo>
                      <a:pt x="83" y="27"/>
                      <a:pt x="83" y="27"/>
                      <a:pt x="83" y="27"/>
                    </a:cubicBezTo>
                    <a:cubicBezTo>
                      <a:pt x="85" y="26"/>
                      <a:pt x="85" y="26"/>
                      <a:pt x="85" y="26"/>
                    </a:cubicBezTo>
                    <a:cubicBezTo>
                      <a:pt x="86" y="26"/>
                      <a:pt x="87" y="25"/>
                      <a:pt x="89" y="24"/>
                    </a:cubicBezTo>
                    <a:cubicBezTo>
                      <a:pt x="89" y="24"/>
                      <a:pt x="89" y="24"/>
                      <a:pt x="89" y="24"/>
                    </a:cubicBezTo>
                    <a:cubicBezTo>
                      <a:pt x="91" y="21"/>
                      <a:pt x="93" y="17"/>
                      <a:pt x="93" y="14"/>
                    </a:cubicBezTo>
                    <a:cubicBezTo>
                      <a:pt x="93" y="10"/>
                      <a:pt x="91" y="7"/>
                      <a:pt x="89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86" y="1"/>
                      <a:pt x="83" y="0"/>
                      <a:pt x="79" y="0"/>
                    </a:cubicBezTo>
                    <a:cubicBezTo>
                      <a:pt x="75" y="0"/>
                      <a:pt x="72" y="1"/>
                      <a:pt x="70" y="3"/>
                    </a:cubicBezTo>
                    <a:cubicBezTo>
                      <a:pt x="68" y="4"/>
                      <a:pt x="68" y="4"/>
                      <a:pt x="68" y="4"/>
                    </a:cubicBezTo>
                    <a:cubicBezTo>
                      <a:pt x="66" y="7"/>
                      <a:pt x="65" y="10"/>
                      <a:pt x="65" y="14"/>
                    </a:cubicBezTo>
                    <a:cubicBezTo>
                      <a:pt x="65" y="17"/>
                      <a:pt x="66" y="21"/>
                      <a:pt x="69" y="24"/>
                    </a:cubicBezTo>
                    <a:cubicBezTo>
                      <a:pt x="70" y="25"/>
                      <a:pt x="72" y="26"/>
                      <a:pt x="73" y="26"/>
                    </a:cubicBezTo>
                    <a:cubicBezTo>
                      <a:pt x="74" y="27"/>
                      <a:pt x="74" y="27"/>
                      <a:pt x="74" y="27"/>
                    </a:cubicBezTo>
                    <a:cubicBezTo>
                      <a:pt x="74" y="67"/>
                      <a:pt x="74" y="67"/>
                      <a:pt x="74" y="67"/>
                    </a:cubicBezTo>
                    <a:cubicBezTo>
                      <a:pt x="73" y="67"/>
                      <a:pt x="73" y="67"/>
                      <a:pt x="73" y="67"/>
                    </a:cubicBezTo>
                    <a:cubicBezTo>
                      <a:pt x="72" y="67"/>
                      <a:pt x="71" y="68"/>
                      <a:pt x="70" y="68"/>
                    </a:cubicBezTo>
                    <a:cubicBezTo>
                      <a:pt x="68" y="68"/>
                      <a:pt x="67" y="69"/>
                      <a:pt x="65" y="70"/>
                    </a:cubicBezTo>
                    <a:cubicBezTo>
                      <a:pt x="64" y="71"/>
                      <a:pt x="64" y="71"/>
                      <a:pt x="64" y="71"/>
                    </a:cubicBezTo>
                    <a:cubicBezTo>
                      <a:pt x="62" y="67"/>
                      <a:pt x="62" y="67"/>
                      <a:pt x="62" y="67"/>
                    </a:cubicBezTo>
                    <a:cubicBezTo>
                      <a:pt x="61" y="66"/>
                      <a:pt x="60" y="64"/>
                      <a:pt x="58" y="63"/>
                    </a:cubicBezTo>
                    <a:cubicBezTo>
                      <a:pt x="56" y="60"/>
                      <a:pt x="53" y="58"/>
                      <a:pt x="50" y="57"/>
                    </a:cubicBezTo>
                    <a:cubicBezTo>
                      <a:pt x="46" y="56"/>
                      <a:pt x="43" y="55"/>
                      <a:pt x="39" y="55"/>
                    </a:cubicBezTo>
                    <a:cubicBezTo>
                      <a:pt x="37" y="55"/>
                      <a:pt x="34" y="55"/>
                      <a:pt x="32" y="56"/>
                    </a:cubicBezTo>
                    <a:cubicBezTo>
                      <a:pt x="29" y="57"/>
                      <a:pt x="27" y="58"/>
                      <a:pt x="25" y="59"/>
                    </a:cubicBezTo>
                    <a:cubicBezTo>
                      <a:pt x="23" y="61"/>
                      <a:pt x="21" y="62"/>
                      <a:pt x="20" y="64"/>
                    </a:cubicBezTo>
                    <a:cubicBezTo>
                      <a:pt x="19" y="65"/>
                      <a:pt x="18" y="66"/>
                      <a:pt x="17" y="68"/>
                    </a:cubicBezTo>
                    <a:cubicBezTo>
                      <a:pt x="16" y="68"/>
                      <a:pt x="16" y="68"/>
                      <a:pt x="16" y="68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4" y="69"/>
                      <a:pt x="12" y="70"/>
                      <a:pt x="11" y="70"/>
                    </a:cubicBezTo>
                    <a:cubicBezTo>
                      <a:pt x="9" y="71"/>
                      <a:pt x="7" y="73"/>
                      <a:pt x="5" y="74"/>
                    </a:cubicBezTo>
                    <a:cubicBezTo>
                      <a:pt x="4" y="76"/>
                      <a:pt x="2" y="79"/>
                      <a:pt x="1" y="81"/>
                    </a:cubicBezTo>
                    <a:cubicBezTo>
                      <a:pt x="0" y="84"/>
                      <a:pt x="0" y="86"/>
                      <a:pt x="0" y="89"/>
                    </a:cubicBezTo>
                    <a:cubicBezTo>
                      <a:pt x="0" y="91"/>
                      <a:pt x="0" y="94"/>
                      <a:pt x="1" y="96"/>
                    </a:cubicBezTo>
                    <a:cubicBezTo>
                      <a:pt x="2" y="99"/>
                      <a:pt x="4" y="101"/>
                      <a:pt x="6" y="103"/>
                    </a:cubicBezTo>
                    <a:cubicBezTo>
                      <a:pt x="6" y="103"/>
                      <a:pt x="6" y="103"/>
                      <a:pt x="6" y="103"/>
                    </a:cubicBezTo>
                    <a:cubicBezTo>
                      <a:pt x="8" y="105"/>
                      <a:pt x="10" y="107"/>
                      <a:pt x="12" y="108"/>
                    </a:cubicBezTo>
                    <a:cubicBezTo>
                      <a:pt x="15" y="109"/>
                      <a:pt x="18" y="109"/>
                      <a:pt x="20" y="109"/>
                    </a:cubicBezTo>
                    <a:cubicBezTo>
                      <a:pt x="31" y="109"/>
                      <a:pt x="31" y="109"/>
                      <a:pt x="31" y="109"/>
                    </a:cubicBezTo>
                    <a:cubicBezTo>
                      <a:pt x="32" y="111"/>
                      <a:pt x="32" y="111"/>
                      <a:pt x="32" y="111"/>
                    </a:cubicBezTo>
                    <a:cubicBezTo>
                      <a:pt x="32" y="113"/>
                      <a:pt x="33" y="114"/>
                      <a:pt x="33" y="116"/>
                    </a:cubicBezTo>
                    <a:cubicBezTo>
                      <a:pt x="35" y="119"/>
                      <a:pt x="36" y="122"/>
                      <a:pt x="39" y="124"/>
                    </a:cubicBezTo>
                    <a:cubicBezTo>
                      <a:pt x="41" y="126"/>
                      <a:pt x="43" y="128"/>
                      <a:pt x="46" y="129"/>
                    </a:cubicBezTo>
                    <a:cubicBezTo>
                      <a:pt x="49" y="131"/>
                      <a:pt x="53" y="131"/>
                      <a:pt x="56" y="131"/>
                    </a:cubicBezTo>
                    <a:cubicBezTo>
                      <a:pt x="103" y="131"/>
                      <a:pt x="103" y="131"/>
                      <a:pt x="103" y="131"/>
                    </a:cubicBezTo>
                    <a:cubicBezTo>
                      <a:pt x="105" y="131"/>
                      <a:pt x="108" y="131"/>
                      <a:pt x="110" y="130"/>
                    </a:cubicBezTo>
                    <a:cubicBezTo>
                      <a:pt x="112" y="129"/>
                      <a:pt x="114" y="128"/>
                      <a:pt x="116" y="126"/>
                    </a:cubicBezTo>
                    <a:cubicBezTo>
                      <a:pt x="117" y="126"/>
                      <a:pt x="117" y="126"/>
                      <a:pt x="117" y="126"/>
                    </a:cubicBezTo>
                    <a:cubicBezTo>
                      <a:pt x="118" y="124"/>
                      <a:pt x="120" y="122"/>
                      <a:pt x="121" y="119"/>
                    </a:cubicBezTo>
                    <a:cubicBezTo>
                      <a:pt x="122" y="117"/>
                      <a:pt x="122" y="115"/>
                      <a:pt x="122" y="112"/>
                    </a:cubicBezTo>
                    <a:cubicBezTo>
                      <a:pt x="122" y="109"/>
                      <a:pt x="122" y="109"/>
                      <a:pt x="122" y="109"/>
                    </a:cubicBezTo>
                    <a:cubicBezTo>
                      <a:pt x="133" y="109"/>
                      <a:pt x="133" y="109"/>
                      <a:pt x="133" y="109"/>
                    </a:cubicBezTo>
                    <a:cubicBezTo>
                      <a:pt x="136" y="109"/>
                      <a:pt x="139" y="109"/>
                      <a:pt x="141" y="108"/>
                    </a:cubicBezTo>
                    <a:cubicBezTo>
                      <a:pt x="144" y="107"/>
                      <a:pt x="146" y="105"/>
                      <a:pt x="148" y="103"/>
                    </a:cubicBezTo>
                    <a:cubicBezTo>
                      <a:pt x="150" y="101"/>
                      <a:pt x="151" y="99"/>
                      <a:pt x="152" y="96"/>
                    </a:cubicBezTo>
                    <a:cubicBezTo>
                      <a:pt x="153" y="94"/>
                      <a:pt x="154" y="91"/>
                      <a:pt x="154" y="89"/>
                    </a:cubicBezTo>
                    <a:cubicBezTo>
                      <a:pt x="154" y="86"/>
                      <a:pt x="153" y="84"/>
                      <a:pt x="152" y="81"/>
                    </a:cubicBezTo>
                    <a:cubicBezTo>
                      <a:pt x="151" y="79"/>
                      <a:pt x="150" y="76"/>
                      <a:pt x="148" y="75"/>
                    </a:cubicBezTo>
                    <a:close/>
                    <a:moveTo>
                      <a:pt x="72" y="21"/>
                    </a:moveTo>
                    <a:cubicBezTo>
                      <a:pt x="71" y="20"/>
                      <a:pt x="71" y="20"/>
                      <a:pt x="71" y="20"/>
                    </a:cubicBezTo>
                    <a:cubicBezTo>
                      <a:pt x="70" y="18"/>
                      <a:pt x="69" y="16"/>
                      <a:pt x="69" y="14"/>
                    </a:cubicBezTo>
                    <a:cubicBezTo>
                      <a:pt x="69" y="11"/>
                      <a:pt x="70" y="9"/>
                      <a:pt x="71" y="7"/>
                    </a:cubicBezTo>
                    <a:cubicBezTo>
                      <a:pt x="71" y="7"/>
                      <a:pt x="71" y="7"/>
                      <a:pt x="71" y="7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76" y="3"/>
                      <a:pt x="82" y="3"/>
                      <a:pt x="86" y="7"/>
                    </a:cubicBezTo>
                    <a:cubicBezTo>
                      <a:pt x="88" y="9"/>
                      <a:pt x="89" y="11"/>
                      <a:pt x="89" y="14"/>
                    </a:cubicBezTo>
                    <a:cubicBezTo>
                      <a:pt x="89" y="16"/>
                      <a:pt x="88" y="19"/>
                      <a:pt x="86" y="21"/>
                    </a:cubicBezTo>
                    <a:cubicBezTo>
                      <a:pt x="85" y="21"/>
                      <a:pt x="85" y="21"/>
                      <a:pt x="85" y="21"/>
                    </a:cubicBezTo>
                    <a:cubicBezTo>
                      <a:pt x="84" y="23"/>
                      <a:pt x="81" y="24"/>
                      <a:pt x="79" y="24"/>
                    </a:cubicBezTo>
                    <a:cubicBezTo>
                      <a:pt x="76" y="24"/>
                      <a:pt x="74" y="23"/>
                      <a:pt x="72" y="21"/>
                    </a:cubicBezTo>
                    <a:close/>
                    <a:moveTo>
                      <a:pt x="32" y="103"/>
                    </a:moveTo>
                    <a:cubicBezTo>
                      <a:pt x="31" y="105"/>
                      <a:pt x="31" y="105"/>
                      <a:pt x="31" y="105"/>
                    </a:cubicBezTo>
                    <a:cubicBezTo>
                      <a:pt x="30" y="105"/>
                      <a:pt x="30" y="105"/>
                      <a:pt x="30" y="105"/>
                    </a:cubicBezTo>
                    <a:cubicBezTo>
                      <a:pt x="20" y="105"/>
                      <a:pt x="20" y="105"/>
                      <a:pt x="20" y="105"/>
                    </a:cubicBezTo>
                    <a:cubicBezTo>
                      <a:pt x="18" y="105"/>
                      <a:pt x="16" y="105"/>
                      <a:pt x="14" y="104"/>
                    </a:cubicBezTo>
                    <a:cubicBezTo>
                      <a:pt x="12" y="103"/>
                      <a:pt x="10" y="102"/>
                      <a:pt x="9" y="101"/>
                    </a:cubicBezTo>
                    <a:cubicBezTo>
                      <a:pt x="7" y="99"/>
                      <a:pt x="6" y="97"/>
                      <a:pt x="5" y="95"/>
                    </a:cubicBezTo>
                    <a:cubicBezTo>
                      <a:pt x="4" y="93"/>
                      <a:pt x="4" y="91"/>
                      <a:pt x="4" y="89"/>
                    </a:cubicBezTo>
                    <a:cubicBezTo>
                      <a:pt x="4" y="86"/>
                      <a:pt x="4" y="84"/>
                      <a:pt x="5" y="82"/>
                    </a:cubicBezTo>
                    <a:cubicBezTo>
                      <a:pt x="6" y="81"/>
                      <a:pt x="7" y="79"/>
                      <a:pt x="8" y="77"/>
                    </a:cubicBezTo>
                    <a:cubicBezTo>
                      <a:pt x="9" y="76"/>
                      <a:pt x="11" y="75"/>
                      <a:pt x="13" y="74"/>
                    </a:cubicBezTo>
                    <a:cubicBezTo>
                      <a:pt x="14" y="73"/>
                      <a:pt x="16" y="72"/>
                      <a:pt x="18" y="72"/>
                    </a:cubicBezTo>
                    <a:cubicBezTo>
                      <a:pt x="18" y="72"/>
                      <a:pt x="19" y="72"/>
                      <a:pt x="19" y="71"/>
                    </a:cubicBezTo>
                    <a:cubicBezTo>
                      <a:pt x="20" y="69"/>
                      <a:pt x="21" y="68"/>
                      <a:pt x="23" y="66"/>
                    </a:cubicBezTo>
                    <a:cubicBezTo>
                      <a:pt x="24" y="65"/>
                      <a:pt x="25" y="64"/>
                      <a:pt x="27" y="63"/>
                    </a:cubicBezTo>
                    <a:cubicBezTo>
                      <a:pt x="29" y="61"/>
                      <a:pt x="31" y="60"/>
                      <a:pt x="33" y="60"/>
                    </a:cubicBezTo>
                    <a:cubicBezTo>
                      <a:pt x="38" y="58"/>
                      <a:pt x="43" y="59"/>
                      <a:pt x="48" y="61"/>
                    </a:cubicBezTo>
                    <a:cubicBezTo>
                      <a:pt x="51" y="62"/>
                      <a:pt x="53" y="63"/>
                      <a:pt x="55" y="65"/>
                    </a:cubicBezTo>
                    <a:cubicBezTo>
                      <a:pt x="55" y="65"/>
                      <a:pt x="55" y="65"/>
                      <a:pt x="55" y="65"/>
                    </a:cubicBezTo>
                    <a:cubicBezTo>
                      <a:pt x="57" y="67"/>
                      <a:pt x="58" y="68"/>
                      <a:pt x="59" y="69"/>
                    </a:cubicBezTo>
                    <a:cubicBezTo>
                      <a:pt x="59" y="70"/>
                      <a:pt x="59" y="70"/>
                      <a:pt x="59" y="71"/>
                    </a:cubicBezTo>
                    <a:cubicBezTo>
                      <a:pt x="60" y="73"/>
                      <a:pt x="60" y="73"/>
                      <a:pt x="60" y="73"/>
                    </a:cubicBezTo>
                    <a:cubicBezTo>
                      <a:pt x="59" y="74"/>
                      <a:pt x="59" y="74"/>
                      <a:pt x="59" y="74"/>
                    </a:cubicBezTo>
                    <a:cubicBezTo>
                      <a:pt x="56" y="76"/>
                      <a:pt x="54" y="79"/>
                      <a:pt x="52" y="82"/>
                    </a:cubicBezTo>
                    <a:cubicBezTo>
                      <a:pt x="51" y="83"/>
                      <a:pt x="51" y="83"/>
                      <a:pt x="51" y="83"/>
                    </a:cubicBezTo>
                    <a:cubicBezTo>
                      <a:pt x="50" y="83"/>
                      <a:pt x="50" y="83"/>
                      <a:pt x="50" y="83"/>
                    </a:cubicBezTo>
                    <a:cubicBezTo>
                      <a:pt x="48" y="84"/>
                      <a:pt x="46" y="84"/>
                      <a:pt x="45" y="85"/>
                    </a:cubicBezTo>
                    <a:cubicBezTo>
                      <a:pt x="42" y="87"/>
                      <a:pt x="40" y="88"/>
                      <a:pt x="38" y="90"/>
                    </a:cubicBezTo>
                    <a:cubicBezTo>
                      <a:pt x="35" y="94"/>
                      <a:pt x="32" y="99"/>
                      <a:pt x="32" y="103"/>
                    </a:cubicBezTo>
                    <a:close/>
                    <a:moveTo>
                      <a:pt x="117" y="118"/>
                    </a:moveTo>
                    <a:cubicBezTo>
                      <a:pt x="116" y="120"/>
                      <a:pt x="115" y="122"/>
                      <a:pt x="114" y="123"/>
                    </a:cubicBezTo>
                    <a:cubicBezTo>
                      <a:pt x="112" y="124"/>
                      <a:pt x="111" y="125"/>
                      <a:pt x="109" y="126"/>
                    </a:cubicBezTo>
                    <a:cubicBezTo>
                      <a:pt x="107" y="127"/>
                      <a:pt x="105" y="127"/>
                      <a:pt x="103" y="127"/>
                    </a:cubicBezTo>
                    <a:cubicBezTo>
                      <a:pt x="56" y="127"/>
                      <a:pt x="56" y="127"/>
                      <a:pt x="56" y="127"/>
                    </a:cubicBezTo>
                    <a:cubicBezTo>
                      <a:pt x="53" y="127"/>
                      <a:pt x="51" y="127"/>
                      <a:pt x="48" y="126"/>
                    </a:cubicBezTo>
                    <a:cubicBezTo>
                      <a:pt x="45" y="125"/>
                      <a:pt x="43" y="123"/>
                      <a:pt x="42" y="122"/>
                    </a:cubicBezTo>
                    <a:cubicBezTo>
                      <a:pt x="41" y="121"/>
                      <a:pt x="41" y="121"/>
                      <a:pt x="41" y="121"/>
                    </a:cubicBezTo>
                    <a:cubicBezTo>
                      <a:pt x="39" y="119"/>
                      <a:pt x="38" y="117"/>
                      <a:pt x="37" y="115"/>
                    </a:cubicBezTo>
                    <a:cubicBezTo>
                      <a:pt x="37" y="114"/>
                      <a:pt x="37" y="114"/>
                      <a:pt x="37" y="114"/>
                    </a:cubicBezTo>
                    <a:cubicBezTo>
                      <a:pt x="35" y="110"/>
                      <a:pt x="35" y="104"/>
                      <a:pt x="37" y="99"/>
                    </a:cubicBezTo>
                    <a:cubicBezTo>
                      <a:pt x="38" y="97"/>
                      <a:pt x="39" y="95"/>
                      <a:pt x="41" y="93"/>
                    </a:cubicBezTo>
                    <a:cubicBezTo>
                      <a:pt x="42" y="91"/>
                      <a:pt x="44" y="90"/>
                      <a:pt x="46" y="89"/>
                    </a:cubicBezTo>
                    <a:cubicBezTo>
                      <a:pt x="48" y="88"/>
                      <a:pt x="50" y="87"/>
                      <a:pt x="53" y="87"/>
                    </a:cubicBezTo>
                    <a:cubicBezTo>
                      <a:pt x="53" y="87"/>
                      <a:pt x="53" y="87"/>
                      <a:pt x="53" y="87"/>
                    </a:cubicBezTo>
                    <a:cubicBezTo>
                      <a:pt x="54" y="87"/>
                      <a:pt x="54" y="86"/>
                      <a:pt x="54" y="85"/>
                    </a:cubicBezTo>
                    <a:cubicBezTo>
                      <a:pt x="54" y="85"/>
                      <a:pt x="54" y="85"/>
                      <a:pt x="54" y="85"/>
                    </a:cubicBezTo>
                    <a:cubicBezTo>
                      <a:pt x="55" y="85"/>
                      <a:pt x="55" y="85"/>
                      <a:pt x="55" y="85"/>
                    </a:cubicBezTo>
                    <a:cubicBezTo>
                      <a:pt x="59" y="78"/>
                      <a:pt x="64" y="74"/>
                      <a:pt x="71" y="72"/>
                    </a:cubicBezTo>
                    <a:cubicBezTo>
                      <a:pt x="77" y="70"/>
                      <a:pt x="84" y="70"/>
                      <a:pt x="89" y="73"/>
                    </a:cubicBezTo>
                    <a:cubicBezTo>
                      <a:pt x="94" y="74"/>
                      <a:pt x="96" y="77"/>
                      <a:pt x="99" y="79"/>
                    </a:cubicBezTo>
                    <a:cubicBezTo>
                      <a:pt x="101" y="81"/>
                      <a:pt x="103" y="84"/>
                      <a:pt x="104" y="87"/>
                    </a:cubicBezTo>
                    <a:cubicBezTo>
                      <a:pt x="105" y="89"/>
                      <a:pt x="106" y="93"/>
                      <a:pt x="106" y="96"/>
                    </a:cubicBezTo>
                    <a:cubicBezTo>
                      <a:pt x="107" y="97"/>
                      <a:pt x="107" y="97"/>
                      <a:pt x="108" y="97"/>
                    </a:cubicBezTo>
                    <a:cubicBezTo>
                      <a:pt x="112" y="99"/>
                      <a:pt x="115" y="102"/>
                      <a:pt x="117" y="106"/>
                    </a:cubicBezTo>
                    <a:cubicBezTo>
                      <a:pt x="119" y="110"/>
                      <a:pt x="119" y="114"/>
                      <a:pt x="117" y="118"/>
                    </a:cubicBezTo>
                    <a:close/>
                    <a:moveTo>
                      <a:pt x="149" y="95"/>
                    </a:moveTo>
                    <a:cubicBezTo>
                      <a:pt x="148" y="97"/>
                      <a:pt x="147" y="99"/>
                      <a:pt x="145" y="100"/>
                    </a:cubicBezTo>
                    <a:cubicBezTo>
                      <a:pt x="143" y="102"/>
                      <a:pt x="142" y="103"/>
                      <a:pt x="140" y="104"/>
                    </a:cubicBezTo>
                    <a:cubicBezTo>
                      <a:pt x="138" y="105"/>
                      <a:pt x="135" y="105"/>
                      <a:pt x="133" y="105"/>
                    </a:cubicBezTo>
                    <a:cubicBezTo>
                      <a:pt x="121" y="105"/>
                      <a:pt x="121" y="105"/>
                      <a:pt x="121" y="105"/>
                    </a:cubicBezTo>
                    <a:cubicBezTo>
                      <a:pt x="120" y="104"/>
                      <a:pt x="120" y="104"/>
                      <a:pt x="120" y="104"/>
                    </a:cubicBezTo>
                    <a:cubicBezTo>
                      <a:pt x="119" y="101"/>
                      <a:pt x="116" y="98"/>
                      <a:pt x="114" y="96"/>
                    </a:cubicBezTo>
                    <a:cubicBezTo>
                      <a:pt x="113" y="96"/>
                      <a:pt x="112" y="95"/>
                      <a:pt x="111" y="95"/>
                    </a:cubicBezTo>
                    <a:cubicBezTo>
                      <a:pt x="110" y="94"/>
                      <a:pt x="110" y="94"/>
                      <a:pt x="110" y="94"/>
                    </a:cubicBezTo>
                    <a:cubicBezTo>
                      <a:pt x="110" y="93"/>
                      <a:pt x="110" y="93"/>
                      <a:pt x="110" y="93"/>
                    </a:cubicBezTo>
                    <a:cubicBezTo>
                      <a:pt x="110" y="90"/>
                      <a:pt x="109" y="88"/>
                      <a:pt x="108" y="85"/>
                    </a:cubicBezTo>
                    <a:cubicBezTo>
                      <a:pt x="105" y="80"/>
                      <a:pt x="101" y="76"/>
                      <a:pt x="96" y="72"/>
                    </a:cubicBezTo>
                    <a:cubicBezTo>
                      <a:pt x="94" y="70"/>
                      <a:pt x="94" y="70"/>
                      <a:pt x="94" y="70"/>
                    </a:cubicBezTo>
                    <a:cubicBezTo>
                      <a:pt x="95" y="69"/>
                      <a:pt x="95" y="69"/>
                      <a:pt x="95" y="69"/>
                    </a:cubicBezTo>
                    <a:cubicBezTo>
                      <a:pt x="96" y="68"/>
                      <a:pt x="97" y="67"/>
                      <a:pt x="98" y="66"/>
                    </a:cubicBezTo>
                    <a:cubicBezTo>
                      <a:pt x="98" y="66"/>
                      <a:pt x="98" y="66"/>
                      <a:pt x="98" y="66"/>
                    </a:cubicBezTo>
                    <a:cubicBezTo>
                      <a:pt x="98" y="65"/>
                      <a:pt x="98" y="65"/>
                      <a:pt x="98" y="65"/>
                    </a:cubicBezTo>
                    <a:cubicBezTo>
                      <a:pt x="100" y="63"/>
                      <a:pt x="103" y="62"/>
                      <a:pt x="105" y="61"/>
                    </a:cubicBezTo>
                    <a:cubicBezTo>
                      <a:pt x="110" y="59"/>
                      <a:pt x="116" y="58"/>
                      <a:pt x="121" y="60"/>
                    </a:cubicBezTo>
                    <a:cubicBezTo>
                      <a:pt x="123" y="60"/>
                      <a:pt x="125" y="61"/>
                      <a:pt x="127" y="63"/>
                    </a:cubicBezTo>
                    <a:cubicBezTo>
                      <a:pt x="128" y="64"/>
                      <a:pt x="130" y="65"/>
                      <a:pt x="131" y="66"/>
                    </a:cubicBezTo>
                    <a:cubicBezTo>
                      <a:pt x="131" y="67"/>
                      <a:pt x="131" y="67"/>
                      <a:pt x="131" y="67"/>
                    </a:cubicBezTo>
                    <a:cubicBezTo>
                      <a:pt x="132" y="68"/>
                      <a:pt x="133" y="69"/>
                      <a:pt x="134" y="71"/>
                    </a:cubicBezTo>
                    <a:cubicBezTo>
                      <a:pt x="134" y="72"/>
                      <a:pt x="135" y="72"/>
                      <a:pt x="136" y="72"/>
                    </a:cubicBezTo>
                    <a:cubicBezTo>
                      <a:pt x="137" y="72"/>
                      <a:pt x="139" y="73"/>
                      <a:pt x="141" y="74"/>
                    </a:cubicBezTo>
                    <a:cubicBezTo>
                      <a:pt x="143" y="75"/>
                      <a:pt x="144" y="76"/>
                      <a:pt x="145" y="77"/>
                    </a:cubicBezTo>
                    <a:cubicBezTo>
                      <a:pt x="147" y="79"/>
                      <a:pt x="148" y="81"/>
                      <a:pt x="149" y="82"/>
                    </a:cubicBezTo>
                    <a:cubicBezTo>
                      <a:pt x="149" y="84"/>
                      <a:pt x="150" y="86"/>
                      <a:pt x="150" y="89"/>
                    </a:cubicBezTo>
                    <a:cubicBezTo>
                      <a:pt x="150" y="91"/>
                      <a:pt x="149" y="93"/>
                      <a:pt x="149" y="95"/>
                    </a:cubicBezTo>
                    <a:close/>
                  </a:path>
                </a:pathLst>
              </a:custGeom>
              <a:solidFill>
                <a:srgbClr val="3F96CE"/>
              </a:solidFill>
              <a:ln w="1905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6" name="Freeform 12"/>
              <p:cNvSpPr>
                <a:spLocks/>
              </p:cNvSpPr>
              <p:nvPr/>
            </p:nvSpPr>
            <p:spPr bwMode="auto">
              <a:xfrm>
                <a:off x="10256838" y="1252538"/>
                <a:ext cx="57150" cy="269875"/>
              </a:xfrm>
              <a:custGeom>
                <a:avLst/>
                <a:gdLst>
                  <a:gd name="T0" fmla="*/ 14 w 15"/>
                  <a:gd name="T1" fmla="*/ 71 h 72"/>
                  <a:gd name="T2" fmla="*/ 14 w 15"/>
                  <a:gd name="T3" fmla="*/ 70 h 72"/>
                  <a:gd name="T4" fmla="*/ 14 w 15"/>
                  <a:gd name="T5" fmla="*/ 69 h 72"/>
                  <a:gd name="T6" fmla="*/ 4 w 15"/>
                  <a:gd name="T7" fmla="*/ 36 h 72"/>
                  <a:gd name="T8" fmla="*/ 4 w 15"/>
                  <a:gd name="T9" fmla="*/ 34 h 72"/>
                  <a:gd name="T10" fmla="*/ 14 w 15"/>
                  <a:gd name="T11" fmla="*/ 3 h 72"/>
                  <a:gd name="T12" fmla="*/ 14 w 15"/>
                  <a:gd name="T13" fmla="*/ 0 h 72"/>
                  <a:gd name="T14" fmla="*/ 13 w 15"/>
                  <a:gd name="T15" fmla="*/ 0 h 72"/>
                  <a:gd name="T16" fmla="*/ 11 w 15"/>
                  <a:gd name="T17" fmla="*/ 1 h 72"/>
                  <a:gd name="T18" fmla="*/ 0 w 15"/>
                  <a:gd name="T19" fmla="*/ 36 h 72"/>
                  <a:gd name="T20" fmla="*/ 11 w 15"/>
                  <a:gd name="T21" fmla="*/ 71 h 72"/>
                  <a:gd name="T22" fmla="*/ 14 w 15"/>
                  <a:gd name="T23" fmla="*/ 71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72">
                    <a:moveTo>
                      <a:pt x="14" y="71"/>
                    </a:moveTo>
                    <a:cubicBezTo>
                      <a:pt x="14" y="71"/>
                      <a:pt x="14" y="70"/>
                      <a:pt x="14" y="70"/>
                    </a:cubicBezTo>
                    <a:cubicBezTo>
                      <a:pt x="15" y="69"/>
                      <a:pt x="14" y="69"/>
                      <a:pt x="14" y="69"/>
                    </a:cubicBezTo>
                    <a:cubicBezTo>
                      <a:pt x="8" y="59"/>
                      <a:pt x="4" y="47"/>
                      <a:pt x="4" y="36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5" y="23"/>
                      <a:pt x="8" y="12"/>
                      <a:pt x="14" y="3"/>
                    </a:cubicBezTo>
                    <a:cubicBezTo>
                      <a:pt x="15" y="2"/>
                      <a:pt x="15" y="1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2" y="0"/>
                      <a:pt x="11" y="0"/>
                      <a:pt x="11" y="1"/>
                    </a:cubicBezTo>
                    <a:cubicBezTo>
                      <a:pt x="4" y="11"/>
                      <a:pt x="0" y="23"/>
                      <a:pt x="0" y="36"/>
                    </a:cubicBezTo>
                    <a:cubicBezTo>
                      <a:pt x="0" y="48"/>
                      <a:pt x="4" y="60"/>
                      <a:pt x="11" y="71"/>
                    </a:cubicBezTo>
                    <a:cubicBezTo>
                      <a:pt x="12" y="72"/>
                      <a:pt x="13" y="72"/>
                      <a:pt x="14" y="71"/>
                    </a:cubicBezTo>
                    <a:close/>
                  </a:path>
                </a:pathLst>
              </a:custGeom>
              <a:solidFill>
                <a:srgbClr val="3F96CE"/>
              </a:solidFill>
              <a:ln w="1905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7" name="Freeform 13"/>
              <p:cNvSpPr>
                <a:spLocks/>
              </p:cNvSpPr>
              <p:nvPr/>
            </p:nvSpPr>
            <p:spPr bwMode="auto">
              <a:xfrm>
                <a:off x="10672763" y="1252538"/>
                <a:ext cx="53975" cy="269875"/>
              </a:xfrm>
              <a:custGeom>
                <a:avLst/>
                <a:gdLst>
                  <a:gd name="T0" fmla="*/ 11 w 14"/>
                  <a:gd name="T1" fmla="*/ 36 h 72"/>
                  <a:gd name="T2" fmla="*/ 10 w 14"/>
                  <a:gd name="T3" fmla="*/ 38 h 72"/>
                  <a:gd name="T4" fmla="*/ 1 w 14"/>
                  <a:gd name="T5" fmla="*/ 69 h 72"/>
                  <a:gd name="T6" fmla="*/ 1 w 14"/>
                  <a:gd name="T7" fmla="*/ 71 h 72"/>
                  <a:gd name="T8" fmla="*/ 4 w 14"/>
                  <a:gd name="T9" fmla="*/ 71 h 72"/>
                  <a:gd name="T10" fmla="*/ 14 w 14"/>
                  <a:gd name="T11" fmla="*/ 37 h 72"/>
                  <a:gd name="T12" fmla="*/ 14 w 14"/>
                  <a:gd name="T13" fmla="*/ 36 h 72"/>
                  <a:gd name="T14" fmla="*/ 4 w 14"/>
                  <a:gd name="T15" fmla="*/ 1 h 72"/>
                  <a:gd name="T16" fmla="*/ 1 w 14"/>
                  <a:gd name="T17" fmla="*/ 0 h 72"/>
                  <a:gd name="T18" fmla="*/ 1 w 14"/>
                  <a:gd name="T19" fmla="*/ 3 h 72"/>
                  <a:gd name="T20" fmla="*/ 11 w 14"/>
                  <a:gd name="T21" fmla="*/ 3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" h="72">
                    <a:moveTo>
                      <a:pt x="11" y="36"/>
                    </a:moveTo>
                    <a:cubicBezTo>
                      <a:pt x="10" y="38"/>
                      <a:pt x="10" y="38"/>
                      <a:pt x="10" y="38"/>
                    </a:cubicBezTo>
                    <a:cubicBezTo>
                      <a:pt x="10" y="49"/>
                      <a:pt x="7" y="59"/>
                      <a:pt x="1" y="69"/>
                    </a:cubicBezTo>
                    <a:cubicBezTo>
                      <a:pt x="0" y="69"/>
                      <a:pt x="0" y="71"/>
                      <a:pt x="1" y="71"/>
                    </a:cubicBezTo>
                    <a:cubicBezTo>
                      <a:pt x="2" y="72"/>
                      <a:pt x="3" y="72"/>
                      <a:pt x="4" y="71"/>
                    </a:cubicBezTo>
                    <a:cubicBezTo>
                      <a:pt x="11" y="61"/>
                      <a:pt x="14" y="49"/>
                      <a:pt x="14" y="37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4" y="23"/>
                      <a:pt x="11" y="11"/>
                      <a:pt x="4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1"/>
                      <a:pt x="0" y="2"/>
                      <a:pt x="1" y="3"/>
                    </a:cubicBezTo>
                    <a:cubicBezTo>
                      <a:pt x="7" y="12"/>
                      <a:pt x="11" y="24"/>
                      <a:pt x="11" y="36"/>
                    </a:cubicBezTo>
                    <a:close/>
                  </a:path>
                </a:pathLst>
              </a:custGeom>
              <a:solidFill>
                <a:srgbClr val="3F96CE"/>
              </a:solidFill>
              <a:ln w="1905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8" name="Freeform 14"/>
              <p:cNvSpPr>
                <a:spLocks/>
              </p:cNvSpPr>
              <p:nvPr/>
            </p:nvSpPr>
            <p:spPr bwMode="auto">
              <a:xfrm>
                <a:off x="10625138" y="1285875"/>
                <a:ext cx="41275" cy="203200"/>
              </a:xfrm>
              <a:custGeom>
                <a:avLst/>
                <a:gdLst>
                  <a:gd name="T0" fmla="*/ 7 w 11"/>
                  <a:gd name="T1" fmla="*/ 27 h 54"/>
                  <a:gd name="T2" fmla="*/ 0 w 11"/>
                  <a:gd name="T3" fmla="*/ 50 h 54"/>
                  <a:gd name="T4" fmla="*/ 1 w 11"/>
                  <a:gd name="T5" fmla="*/ 53 h 54"/>
                  <a:gd name="T6" fmla="*/ 3 w 11"/>
                  <a:gd name="T7" fmla="*/ 53 h 54"/>
                  <a:gd name="T8" fmla="*/ 11 w 11"/>
                  <a:gd name="T9" fmla="*/ 27 h 54"/>
                  <a:gd name="T10" fmla="*/ 3 w 11"/>
                  <a:gd name="T11" fmla="*/ 1 h 54"/>
                  <a:gd name="T12" fmla="*/ 2 w 11"/>
                  <a:gd name="T13" fmla="*/ 0 h 54"/>
                  <a:gd name="T14" fmla="*/ 1 w 11"/>
                  <a:gd name="T15" fmla="*/ 0 h 54"/>
                  <a:gd name="T16" fmla="*/ 0 w 11"/>
                  <a:gd name="T17" fmla="*/ 3 h 54"/>
                  <a:gd name="T18" fmla="*/ 7 w 11"/>
                  <a:gd name="T19" fmla="*/ 27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54">
                    <a:moveTo>
                      <a:pt x="7" y="27"/>
                    </a:moveTo>
                    <a:cubicBezTo>
                      <a:pt x="7" y="35"/>
                      <a:pt x="5" y="43"/>
                      <a:pt x="0" y="50"/>
                    </a:cubicBezTo>
                    <a:cubicBezTo>
                      <a:pt x="0" y="51"/>
                      <a:pt x="0" y="53"/>
                      <a:pt x="1" y="53"/>
                    </a:cubicBezTo>
                    <a:cubicBezTo>
                      <a:pt x="2" y="54"/>
                      <a:pt x="3" y="53"/>
                      <a:pt x="3" y="53"/>
                    </a:cubicBezTo>
                    <a:cubicBezTo>
                      <a:pt x="9" y="45"/>
                      <a:pt x="11" y="36"/>
                      <a:pt x="11" y="27"/>
                    </a:cubicBezTo>
                    <a:cubicBezTo>
                      <a:pt x="11" y="17"/>
                      <a:pt x="9" y="8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5" y="10"/>
                      <a:pt x="7" y="18"/>
                      <a:pt x="7" y="27"/>
                    </a:cubicBezTo>
                    <a:close/>
                  </a:path>
                </a:pathLst>
              </a:custGeom>
              <a:solidFill>
                <a:srgbClr val="3F96CE"/>
              </a:solidFill>
              <a:ln w="1905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121" name="Gruppieren 120"/>
            <p:cNvGrpSpPr/>
            <p:nvPr/>
          </p:nvGrpSpPr>
          <p:grpSpPr>
            <a:xfrm>
              <a:off x="1976521" y="1525294"/>
              <a:ext cx="813702" cy="732332"/>
              <a:chOff x="14081125" y="1973263"/>
              <a:chExt cx="476250" cy="428625"/>
            </a:xfrm>
          </p:grpSpPr>
          <p:sp>
            <p:nvSpPr>
              <p:cNvPr id="73" name="Freeform 20"/>
              <p:cNvSpPr>
                <a:spLocks/>
              </p:cNvSpPr>
              <p:nvPr/>
            </p:nvSpPr>
            <p:spPr bwMode="auto">
              <a:xfrm>
                <a:off x="14303375" y="2281238"/>
                <a:ext cx="33338" cy="34925"/>
              </a:xfrm>
              <a:custGeom>
                <a:avLst/>
                <a:gdLst>
                  <a:gd name="T0" fmla="*/ 2 w 9"/>
                  <a:gd name="T1" fmla="*/ 8 h 9"/>
                  <a:gd name="T2" fmla="*/ 7 w 9"/>
                  <a:gd name="T3" fmla="*/ 7 h 9"/>
                  <a:gd name="T4" fmla="*/ 9 w 9"/>
                  <a:gd name="T5" fmla="*/ 5 h 9"/>
                  <a:gd name="T6" fmla="*/ 7 w 9"/>
                  <a:gd name="T7" fmla="*/ 2 h 9"/>
                  <a:gd name="T8" fmla="*/ 2 w 9"/>
                  <a:gd name="T9" fmla="*/ 2 h 9"/>
                  <a:gd name="T10" fmla="*/ 0 w 9"/>
                  <a:gd name="T11" fmla="*/ 5 h 9"/>
                  <a:gd name="T12" fmla="*/ 2 w 9"/>
                  <a:gd name="T13" fmla="*/ 7 h 9"/>
                  <a:gd name="T14" fmla="*/ 2 w 9"/>
                  <a:gd name="T15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9">
                    <a:moveTo>
                      <a:pt x="2" y="8"/>
                    </a:moveTo>
                    <a:cubicBezTo>
                      <a:pt x="3" y="9"/>
                      <a:pt x="6" y="9"/>
                      <a:pt x="7" y="7"/>
                    </a:cubicBezTo>
                    <a:cubicBezTo>
                      <a:pt x="8" y="7"/>
                      <a:pt x="9" y="6"/>
                      <a:pt x="9" y="5"/>
                    </a:cubicBezTo>
                    <a:cubicBezTo>
                      <a:pt x="9" y="4"/>
                      <a:pt x="8" y="3"/>
                      <a:pt x="7" y="2"/>
                    </a:cubicBezTo>
                    <a:cubicBezTo>
                      <a:pt x="6" y="0"/>
                      <a:pt x="3" y="0"/>
                      <a:pt x="2" y="2"/>
                    </a:cubicBezTo>
                    <a:cubicBezTo>
                      <a:pt x="1" y="3"/>
                      <a:pt x="0" y="4"/>
                      <a:pt x="0" y="5"/>
                    </a:cubicBezTo>
                    <a:cubicBezTo>
                      <a:pt x="0" y="6"/>
                      <a:pt x="1" y="7"/>
                      <a:pt x="2" y="7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2" name="Freeform 28"/>
              <p:cNvSpPr>
                <a:spLocks noEditPoints="1"/>
              </p:cNvSpPr>
              <p:nvPr/>
            </p:nvSpPr>
            <p:spPr bwMode="auto">
              <a:xfrm>
                <a:off x="14133513" y="2132013"/>
                <a:ext cx="79375" cy="19050"/>
              </a:xfrm>
              <a:custGeom>
                <a:avLst/>
                <a:gdLst>
                  <a:gd name="T0" fmla="*/ 18 w 21"/>
                  <a:gd name="T1" fmla="*/ 0 h 5"/>
                  <a:gd name="T2" fmla="*/ 3 w 21"/>
                  <a:gd name="T3" fmla="*/ 0 h 5"/>
                  <a:gd name="T4" fmla="*/ 0 w 21"/>
                  <a:gd name="T5" fmla="*/ 2 h 5"/>
                  <a:gd name="T6" fmla="*/ 3 w 21"/>
                  <a:gd name="T7" fmla="*/ 5 h 5"/>
                  <a:gd name="T8" fmla="*/ 18 w 21"/>
                  <a:gd name="T9" fmla="*/ 5 h 5"/>
                  <a:gd name="T10" fmla="*/ 21 w 21"/>
                  <a:gd name="T11" fmla="*/ 2 h 5"/>
                  <a:gd name="T12" fmla="*/ 18 w 21"/>
                  <a:gd name="T13" fmla="*/ 0 h 5"/>
                  <a:gd name="T14" fmla="*/ 18 w 21"/>
                  <a:gd name="T15" fmla="*/ 3 h 5"/>
                  <a:gd name="T16" fmla="*/ 3 w 21"/>
                  <a:gd name="T17" fmla="*/ 3 h 5"/>
                  <a:gd name="T18" fmla="*/ 2 w 21"/>
                  <a:gd name="T19" fmla="*/ 2 h 5"/>
                  <a:gd name="T20" fmla="*/ 3 w 21"/>
                  <a:gd name="T21" fmla="*/ 2 h 5"/>
                  <a:gd name="T22" fmla="*/ 18 w 21"/>
                  <a:gd name="T23" fmla="*/ 2 h 5"/>
                  <a:gd name="T24" fmla="*/ 19 w 21"/>
                  <a:gd name="T25" fmla="*/ 2 h 5"/>
                  <a:gd name="T26" fmla="*/ 18 w 21"/>
                  <a:gd name="T27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5">
                    <a:moveTo>
                      <a:pt x="18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4"/>
                      <a:pt x="1" y="5"/>
                      <a:pt x="3" y="5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20" y="5"/>
                      <a:pt x="21" y="4"/>
                      <a:pt x="21" y="2"/>
                    </a:cubicBezTo>
                    <a:cubicBezTo>
                      <a:pt x="21" y="1"/>
                      <a:pt x="20" y="0"/>
                      <a:pt x="18" y="0"/>
                    </a:cubicBezTo>
                    <a:close/>
                    <a:moveTo>
                      <a:pt x="18" y="3"/>
                    </a:move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2" y="3"/>
                      <a:pt x="2" y="2"/>
                    </a:cubicBezTo>
                    <a:cubicBezTo>
                      <a:pt x="2" y="2"/>
                      <a:pt x="2" y="2"/>
                      <a:pt x="3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8" y="2"/>
                      <a:pt x="19" y="2"/>
                      <a:pt x="19" y="2"/>
                    </a:cubicBezTo>
                    <a:cubicBezTo>
                      <a:pt x="19" y="3"/>
                      <a:pt x="18" y="3"/>
                      <a:pt x="18" y="3"/>
                    </a:cubicBez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3" name="Freeform 29"/>
              <p:cNvSpPr>
                <a:spLocks noEditPoints="1"/>
              </p:cNvSpPr>
              <p:nvPr/>
            </p:nvSpPr>
            <p:spPr bwMode="auto">
              <a:xfrm>
                <a:off x="14133513" y="2168526"/>
                <a:ext cx="79375" cy="19050"/>
              </a:xfrm>
              <a:custGeom>
                <a:avLst/>
                <a:gdLst>
                  <a:gd name="T0" fmla="*/ 18 w 21"/>
                  <a:gd name="T1" fmla="*/ 0 h 5"/>
                  <a:gd name="T2" fmla="*/ 3 w 21"/>
                  <a:gd name="T3" fmla="*/ 0 h 5"/>
                  <a:gd name="T4" fmla="*/ 0 w 21"/>
                  <a:gd name="T5" fmla="*/ 2 h 5"/>
                  <a:gd name="T6" fmla="*/ 3 w 21"/>
                  <a:gd name="T7" fmla="*/ 5 h 5"/>
                  <a:gd name="T8" fmla="*/ 18 w 21"/>
                  <a:gd name="T9" fmla="*/ 5 h 5"/>
                  <a:gd name="T10" fmla="*/ 21 w 21"/>
                  <a:gd name="T11" fmla="*/ 2 h 5"/>
                  <a:gd name="T12" fmla="*/ 18 w 21"/>
                  <a:gd name="T13" fmla="*/ 0 h 5"/>
                  <a:gd name="T14" fmla="*/ 18 w 21"/>
                  <a:gd name="T15" fmla="*/ 3 h 5"/>
                  <a:gd name="T16" fmla="*/ 3 w 21"/>
                  <a:gd name="T17" fmla="*/ 3 h 5"/>
                  <a:gd name="T18" fmla="*/ 2 w 21"/>
                  <a:gd name="T19" fmla="*/ 2 h 5"/>
                  <a:gd name="T20" fmla="*/ 3 w 21"/>
                  <a:gd name="T21" fmla="*/ 2 h 5"/>
                  <a:gd name="T22" fmla="*/ 18 w 21"/>
                  <a:gd name="T23" fmla="*/ 2 h 5"/>
                  <a:gd name="T24" fmla="*/ 19 w 21"/>
                  <a:gd name="T25" fmla="*/ 2 h 5"/>
                  <a:gd name="T26" fmla="*/ 18 w 21"/>
                  <a:gd name="T27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5">
                    <a:moveTo>
                      <a:pt x="18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4"/>
                      <a:pt x="1" y="5"/>
                      <a:pt x="3" y="5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20" y="5"/>
                      <a:pt x="21" y="4"/>
                      <a:pt x="21" y="2"/>
                    </a:cubicBezTo>
                    <a:cubicBezTo>
                      <a:pt x="21" y="1"/>
                      <a:pt x="20" y="0"/>
                      <a:pt x="18" y="0"/>
                    </a:cubicBezTo>
                    <a:close/>
                    <a:moveTo>
                      <a:pt x="18" y="3"/>
                    </a:move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2" y="2"/>
                      <a:pt x="2" y="2"/>
                    </a:cubicBezTo>
                    <a:cubicBezTo>
                      <a:pt x="2" y="2"/>
                      <a:pt x="2" y="2"/>
                      <a:pt x="3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8" y="2"/>
                      <a:pt x="19" y="2"/>
                      <a:pt x="19" y="2"/>
                    </a:cubicBezTo>
                    <a:cubicBezTo>
                      <a:pt x="19" y="2"/>
                      <a:pt x="18" y="3"/>
                      <a:pt x="18" y="3"/>
                    </a:cubicBez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4" name="Freeform 30"/>
              <p:cNvSpPr>
                <a:spLocks noEditPoints="1"/>
              </p:cNvSpPr>
              <p:nvPr/>
            </p:nvSpPr>
            <p:spPr bwMode="auto">
              <a:xfrm>
                <a:off x="14157325" y="2274888"/>
                <a:ext cx="33338" cy="33338"/>
              </a:xfrm>
              <a:custGeom>
                <a:avLst/>
                <a:gdLst>
                  <a:gd name="T0" fmla="*/ 8 w 9"/>
                  <a:gd name="T1" fmla="*/ 1 h 9"/>
                  <a:gd name="T2" fmla="*/ 4 w 9"/>
                  <a:gd name="T3" fmla="*/ 0 h 9"/>
                  <a:gd name="T4" fmla="*/ 1 w 9"/>
                  <a:gd name="T5" fmla="*/ 1 h 9"/>
                  <a:gd name="T6" fmla="*/ 1 w 9"/>
                  <a:gd name="T7" fmla="*/ 1 h 9"/>
                  <a:gd name="T8" fmla="*/ 0 w 9"/>
                  <a:gd name="T9" fmla="*/ 5 h 9"/>
                  <a:gd name="T10" fmla="*/ 1 w 9"/>
                  <a:gd name="T11" fmla="*/ 8 h 9"/>
                  <a:gd name="T12" fmla="*/ 1 w 9"/>
                  <a:gd name="T13" fmla="*/ 8 h 9"/>
                  <a:gd name="T14" fmla="*/ 4 w 9"/>
                  <a:gd name="T15" fmla="*/ 9 h 9"/>
                  <a:gd name="T16" fmla="*/ 8 w 9"/>
                  <a:gd name="T17" fmla="*/ 8 h 9"/>
                  <a:gd name="T18" fmla="*/ 9 w 9"/>
                  <a:gd name="T19" fmla="*/ 5 h 9"/>
                  <a:gd name="T20" fmla="*/ 8 w 9"/>
                  <a:gd name="T21" fmla="*/ 2 h 9"/>
                  <a:gd name="T22" fmla="*/ 8 w 9"/>
                  <a:gd name="T23" fmla="*/ 1 h 9"/>
                  <a:gd name="T24" fmla="*/ 6 w 9"/>
                  <a:gd name="T25" fmla="*/ 6 h 9"/>
                  <a:gd name="T26" fmla="*/ 3 w 9"/>
                  <a:gd name="T27" fmla="*/ 6 h 9"/>
                  <a:gd name="T28" fmla="*/ 2 w 9"/>
                  <a:gd name="T29" fmla="*/ 5 h 9"/>
                  <a:gd name="T30" fmla="*/ 2 w 9"/>
                  <a:gd name="T31" fmla="*/ 3 h 9"/>
                  <a:gd name="T32" fmla="*/ 3 w 9"/>
                  <a:gd name="T33" fmla="*/ 3 h 9"/>
                  <a:gd name="T34" fmla="*/ 6 w 9"/>
                  <a:gd name="T35" fmla="*/ 3 h 9"/>
                  <a:gd name="T36" fmla="*/ 7 w 9"/>
                  <a:gd name="T37" fmla="*/ 5 h 9"/>
                  <a:gd name="T38" fmla="*/ 6 w 9"/>
                  <a:gd name="T3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" h="9">
                    <a:moveTo>
                      <a:pt x="8" y="1"/>
                    </a:moveTo>
                    <a:cubicBezTo>
                      <a:pt x="7" y="1"/>
                      <a:pt x="6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2"/>
                      <a:pt x="0" y="3"/>
                      <a:pt x="0" y="5"/>
                    </a:cubicBezTo>
                    <a:cubicBezTo>
                      <a:pt x="0" y="6"/>
                      <a:pt x="0" y="7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2" y="9"/>
                      <a:pt x="3" y="9"/>
                      <a:pt x="4" y="9"/>
                    </a:cubicBezTo>
                    <a:cubicBezTo>
                      <a:pt x="6" y="9"/>
                      <a:pt x="7" y="9"/>
                      <a:pt x="8" y="8"/>
                    </a:cubicBezTo>
                    <a:cubicBezTo>
                      <a:pt x="8" y="7"/>
                      <a:pt x="9" y="6"/>
                      <a:pt x="9" y="5"/>
                    </a:cubicBezTo>
                    <a:cubicBezTo>
                      <a:pt x="9" y="3"/>
                      <a:pt x="9" y="2"/>
                      <a:pt x="8" y="2"/>
                    </a:cubicBezTo>
                    <a:lnTo>
                      <a:pt x="8" y="1"/>
                    </a:lnTo>
                    <a:close/>
                    <a:moveTo>
                      <a:pt x="6" y="6"/>
                    </a:moveTo>
                    <a:cubicBezTo>
                      <a:pt x="5" y="7"/>
                      <a:pt x="4" y="7"/>
                      <a:pt x="3" y="6"/>
                    </a:cubicBezTo>
                    <a:cubicBezTo>
                      <a:pt x="2" y="6"/>
                      <a:pt x="2" y="5"/>
                      <a:pt x="2" y="5"/>
                    </a:cubicBezTo>
                    <a:cubicBezTo>
                      <a:pt x="2" y="4"/>
                      <a:pt x="2" y="4"/>
                      <a:pt x="2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2"/>
                      <a:pt x="5" y="2"/>
                      <a:pt x="6" y="3"/>
                    </a:cubicBezTo>
                    <a:cubicBezTo>
                      <a:pt x="7" y="3"/>
                      <a:pt x="7" y="4"/>
                      <a:pt x="7" y="5"/>
                    </a:cubicBezTo>
                    <a:cubicBezTo>
                      <a:pt x="7" y="5"/>
                      <a:pt x="7" y="6"/>
                      <a:pt x="6" y="6"/>
                    </a:cubicBez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5" name="Freeform 31"/>
              <p:cNvSpPr>
                <a:spLocks noEditPoints="1"/>
              </p:cNvSpPr>
              <p:nvPr/>
            </p:nvSpPr>
            <p:spPr bwMode="auto">
              <a:xfrm>
                <a:off x="14133513" y="2093913"/>
                <a:ext cx="79375" cy="19050"/>
              </a:xfrm>
              <a:custGeom>
                <a:avLst/>
                <a:gdLst>
                  <a:gd name="T0" fmla="*/ 3 w 21"/>
                  <a:gd name="T1" fmla="*/ 5 h 5"/>
                  <a:gd name="T2" fmla="*/ 18 w 21"/>
                  <a:gd name="T3" fmla="*/ 5 h 5"/>
                  <a:gd name="T4" fmla="*/ 21 w 21"/>
                  <a:gd name="T5" fmla="*/ 3 h 5"/>
                  <a:gd name="T6" fmla="*/ 18 w 21"/>
                  <a:gd name="T7" fmla="*/ 0 h 5"/>
                  <a:gd name="T8" fmla="*/ 3 w 21"/>
                  <a:gd name="T9" fmla="*/ 0 h 5"/>
                  <a:gd name="T10" fmla="*/ 0 w 21"/>
                  <a:gd name="T11" fmla="*/ 3 h 5"/>
                  <a:gd name="T12" fmla="*/ 3 w 21"/>
                  <a:gd name="T13" fmla="*/ 5 h 5"/>
                  <a:gd name="T14" fmla="*/ 3 w 21"/>
                  <a:gd name="T15" fmla="*/ 2 h 5"/>
                  <a:gd name="T16" fmla="*/ 18 w 21"/>
                  <a:gd name="T17" fmla="*/ 2 h 5"/>
                  <a:gd name="T18" fmla="*/ 19 w 21"/>
                  <a:gd name="T19" fmla="*/ 3 h 5"/>
                  <a:gd name="T20" fmla="*/ 18 w 21"/>
                  <a:gd name="T21" fmla="*/ 3 h 5"/>
                  <a:gd name="T22" fmla="*/ 3 w 21"/>
                  <a:gd name="T23" fmla="*/ 3 h 5"/>
                  <a:gd name="T24" fmla="*/ 2 w 21"/>
                  <a:gd name="T25" fmla="*/ 3 h 5"/>
                  <a:gd name="T26" fmla="*/ 3 w 21"/>
                  <a:gd name="T27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5">
                    <a:moveTo>
                      <a:pt x="3" y="5"/>
                    </a:moveTo>
                    <a:cubicBezTo>
                      <a:pt x="18" y="5"/>
                      <a:pt x="18" y="5"/>
                      <a:pt x="18" y="5"/>
                    </a:cubicBezTo>
                    <a:cubicBezTo>
                      <a:pt x="20" y="5"/>
                      <a:pt x="21" y="4"/>
                      <a:pt x="21" y="3"/>
                    </a:cubicBezTo>
                    <a:cubicBezTo>
                      <a:pt x="21" y="1"/>
                      <a:pt x="20" y="0"/>
                      <a:pt x="18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4"/>
                      <a:pt x="1" y="5"/>
                      <a:pt x="3" y="5"/>
                    </a:cubicBezTo>
                    <a:close/>
                    <a:moveTo>
                      <a:pt x="3" y="2"/>
                    </a:moveTo>
                    <a:cubicBezTo>
                      <a:pt x="18" y="2"/>
                      <a:pt x="18" y="2"/>
                      <a:pt x="18" y="2"/>
                    </a:cubicBezTo>
                    <a:cubicBezTo>
                      <a:pt x="18" y="2"/>
                      <a:pt x="19" y="2"/>
                      <a:pt x="19" y="3"/>
                    </a:cubicBezTo>
                    <a:cubicBezTo>
                      <a:pt x="19" y="3"/>
                      <a:pt x="18" y="3"/>
                      <a:pt x="18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2"/>
                      <a:pt x="2" y="2"/>
                      <a:pt x="3" y="2"/>
                    </a:cubicBez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6" name="Freeform 32"/>
              <p:cNvSpPr>
                <a:spLocks noEditPoints="1"/>
              </p:cNvSpPr>
              <p:nvPr/>
            </p:nvSpPr>
            <p:spPr bwMode="auto">
              <a:xfrm>
                <a:off x="14254163" y="2008188"/>
                <a:ext cx="131763" cy="363538"/>
              </a:xfrm>
              <a:custGeom>
                <a:avLst/>
                <a:gdLst>
                  <a:gd name="T0" fmla="*/ 83 w 83"/>
                  <a:gd name="T1" fmla="*/ 0 h 229"/>
                  <a:gd name="T2" fmla="*/ 0 w 83"/>
                  <a:gd name="T3" fmla="*/ 0 h 229"/>
                  <a:gd name="T4" fmla="*/ 0 w 83"/>
                  <a:gd name="T5" fmla="*/ 229 h 229"/>
                  <a:gd name="T6" fmla="*/ 83 w 83"/>
                  <a:gd name="T7" fmla="*/ 229 h 229"/>
                  <a:gd name="T8" fmla="*/ 83 w 83"/>
                  <a:gd name="T9" fmla="*/ 0 h 229"/>
                  <a:gd name="T10" fmla="*/ 78 w 83"/>
                  <a:gd name="T11" fmla="*/ 224 h 229"/>
                  <a:gd name="T12" fmla="*/ 5 w 83"/>
                  <a:gd name="T13" fmla="*/ 224 h 229"/>
                  <a:gd name="T14" fmla="*/ 5 w 83"/>
                  <a:gd name="T15" fmla="*/ 4 h 229"/>
                  <a:gd name="T16" fmla="*/ 78 w 83"/>
                  <a:gd name="T17" fmla="*/ 4 h 229"/>
                  <a:gd name="T18" fmla="*/ 78 w 83"/>
                  <a:gd name="T19" fmla="*/ 224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3" h="229">
                    <a:moveTo>
                      <a:pt x="83" y="0"/>
                    </a:moveTo>
                    <a:lnTo>
                      <a:pt x="0" y="0"/>
                    </a:lnTo>
                    <a:lnTo>
                      <a:pt x="0" y="229"/>
                    </a:lnTo>
                    <a:lnTo>
                      <a:pt x="83" y="229"/>
                    </a:lnTo>
                    <a:lnTo>
                      <a:pt x="83" y="0"/>
                    </a:lnTo>
                    <a:close/>
                    <a:moveTo>
                      <a:pt x="78" y="224"/>
                    </a:moveTo>
                    <a:lnTo>
                      <a:pt x="5" y="224"/>
                    </a:lnTo>
                    <a:lnTo>
                      <a:pt x="5" y="4"/>
                    </a:lnTo>
                    <a:lnTo>
                      <a:pt x="78" y="4"/>
                    </a:lnTo>
                    <a:lnTo>
                      <a:pt x="78" y="224"/>
                    </a:ln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7" name="Freeform 33"/>
              <p:cNvSpPr>
                <a:spLocks noEditPoints="1"/>
              </p:cNvSpPr>
              <p:nvPr/>
            </p:nvSpPr>
            <p:spPr bwMode="auto">
              <a:xfrm>
                <a:off x="14111288" y="2049463"/>
                <a:ext cx="120650" cy="307975"/>
              </a:xfrm>
              <a:custGeom>
                <a:avLst/>
                <a:gdLst>
                  <a:gd name="T0" fmla="*/ 0 w 76"/>
                  <a:gd name="T1" fmla="*/ 194 h 194"/>
                  <a:gd name="T2" fmla="*/ 76 w 76"/>
                  <a:gd name="T3" fmla="*/ 194 h 194"/>
                  <a:gd name="T4" fmla="*/ 76 w 76"/>
                  <a:gd name="T5" fmla="*/ 0 h 194"/>
                  <a:gd name="T6" fmla="*/ 0 w 76"/>
                  <a:gd name="T7" fmla="*/ 0 h 194"/>
                  <a:gd name="T8" fmla="*/ 0 w 76"/>
                  <a:gd name="T9" fmla="*/ 194 h 194"/>
                  <a:gd name="T10" fmla="*/ 7 w 76"/>
                  <a:gd name="T11" fmla="*/ 4 h 194"/>
                  <a:gd name="T12" fmla="*/ 71 w 76"/>
                  <a:gd name="T13" fmla="*/ 4 h 194"/>
                  <a:gd name="T14" fmla="*/ 71 w 76"/>
                  <a:gd name="T15" fmla="*/ 189 h 194"/>
                  <a:gd name="T16" fmla="*/ 7 w 76"/>
                  <a:gd name="T17" fmla="*/ 189 h 194"/>
                  <a:gd name="T18" fmla="*/ 7 w 76"/>
                  <a:gd name="T19" fmla="*/ 4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6" h="194">
                    <a:moveTo>
                      <a:pt x="0" y="194"/>
                    </a:moveTo>
                    <a:lnTo>
                      <a:pt x="76" y="194"/>
                    </a:lnTo>
                    <a:lnTo>
                      <a:pt x="76" y="0"/>
                    </a:lnTo>
                    <a:lnTo>
                      <a:pt x="0" y="0"/>
                    </a:lnTo>
                    <a:lnTo>
                      <a:pt x="0" y="194"/>
                    </a:lnTo>
                    <a:close/>
                    <a:moveTo>
                      <a:pt x="7" y="4"/>
                    </a:moveTo>
                    <a:lnTo>
                      <a:pt x="71" y="4"/>
                    </a:lnTo>
                    <a:lnTo>
                      <a:pt x="71" y="189"/>
                    </a:lnTo>
                    <a:lnTo>
                      <a:pt x="7" y="189"/>
                    </a:lnTo>
                    <a:lnTo>
                      <a:pt x="7" y="4"/>
                    </a:ln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8" name="Freeform 34"/>
              <p:cNvSpPr>
                <a:spLocks noEditPoints="1"/>
              </p:cNvSpPr>
              <p:nvPr/>
            </p:nvSpPr>
            <p:spPr bwMode="auto">
              <a:xfrm>
                <a:off x="14427200" y="2132013"/>
                <a:ext cx="77788" cy="19050"/>
              </a:xfrm>
              <a:custGeom>
                <a:avLst/>
                <a:gdLst>
                  <a:gd name="T0" fmla="*/ 18 w 21"/>
                  <a:gd name="T1" fmla="*/ 0 h 5"/>
                  <a:gd name="T2" fmla="*/ 3 w 21"/>
                  <a:gd name="T3" fmla="*/ 0 h 5"/>
                  <a:gd name="T4" fmla="*/ 0 w 21"/>
                  <a:gd name="T5" fmla="*/ 2 h 5"/>
                  <a:gd name="T6" fmla="*/ 3 w 21"/>
                  <a:gd name="T7" fmla="*/ 5 h 5"/>
                  <a:gd name="T8" fmla="*/ 18 w 21"/>
                  <a:gd name="T9" fmla="*/ 5 h 5"/>
                  <a:gd name="T10" fmla="*/ 21 w 21"/>
                  <a:gd name="T11" fmla="*/ 2 h 5"/>
                  <a:gd name="T12" fmla="*/ 18 w 21"/>
                  <a:gd name="T13" fmla="*/ 0 h 5"/>
                  <a:gd name="T14" fmla="*/ 18 w 21"/>
                  <a:gd name="T15" fmla="*/ 3 h 5"/>
                  <a:gd name="T16" fmla="*/ 3 w 21"/>
                  <a:gd name="T17" fmla="*/ 3 h 5"/>
                  <a:gd name="T18" fmla="*/ 2 w 21"/>
                  <a:gd name="T19" fmla="*/ 2 h 5"/>
                  <a:gd name="T20" fmla="*/ 3 w 21"/>
                  <a:gd name="T21" fmla="*/ 2 h 5"/>
                  <a:gd name="T22" fmla="*/ 18 w 21"/>
                  <a:gd name="T23" fmla="*/ 2 h 5"/>
                  <a:gd name="T24" fmla="*/ 19 w 21"/>
                  <a:gd name="T25" fmla="*/ 2 h 5"/>
                  <a:gd name="T26" fmla="*/ 18 w 21"/>
                  <a:gd name="T27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5">
                    <a:moveTo>
                      <a:pt x="18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4"/>
                      <a:pt x="1" y="5"/>
                      <a:pt x="3" y="5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20" y="5"/>
                      <a:pt x="21" y="4"/>
                      <a:pt x="21" y="2"/>
                    </a:cubicBezTo>
                    <a:cubicBezTo>
                      <a:pt x="21" y="1"/>
                      <a:pt x="20" y="0"/>
                      <a:pt x="18" y="0"/>
                    </a:cubicBezTo>
                    <a:close/>
                    <a:moveTo>
                      <a:pt x="18" y="3"/>
                    </a:move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2" y="3"/>
                      <a:pt x="2" y="2"/>
                    </a:cubicBezTo>
                    <a:cubicBezTo>
                      <a:pt x="2" y="2"/>
                      <a:pt x="2" y="2"/>
                      <a:pt x="3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8" y="2"/>
                      <a:pt x="19" y="2"/>
                      <a:pt x="19" y="2"/>
                    </a:cubicBezTo>
                    <a:cubicBezTo>
                      <a:pt x="19" y="3"/>
                      <a:pt x="18" y="3"/>
                      <a:pt x="18" y="3"/>
                    </a:cubicBez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9" name="Freeform 35"/>
              <p:cNvSpPr>
                <a:spLocks noEditPoints="1"/>
              </p:cNvSpPr>
              <p:nvPr/>
            </p:nvSpPr>
            <p:spPr bwMode="auto">
              <a:xfrm>
                <a:off x="14427200" y="2168526"/>
                <a:ext cx="77788" cy="19050"/>
              </a:xfrm>
              <a:custGeom>
                <a:avLst/>
                <a:gdLst>
                  <a:gd name="T0" fmla="*/ 18 w 21"/>
                  <a:gd name="T1" fmla="*/ 0 h 5"/>
                  <a:gd name="T2" fmla="*/ 3 w 21"/>
                  <a:gd name="T3" fmla="*/ 0 h 5"/>
                  <a:gd name="T4" fmla="*/ 0 w 21"/>
                  <a:gd name="T5" fmla="*/ 2 h 5"/>
                  <a:gd name="T6" fmla="*/ 3 w 21"/>
                  <a:gd name="T7" fmla="*/ 5 h 5"/>
                  <a:gd name="T8" fmla="*/ 18 w 21"/>
                  <a:gd name="T9" fmla="*/ 5 h 5"/>
                  <a:gd name="T10" fmla="*/ 21 w 21"/>
                  <a:gd name="T11" fmla="*/ 2 h 5"/>
                  <a:gd name="T12" fmla="*/ 18 w 21"/>
                  <a:gd name="T13" fmla="*/ 0 h 5"/>
                  <a:gd name="T14" fmla="*/ 18 w 21"/>
                  <a:gd name="T15" fmla="*/ 3 h 5"/>
                  <a:gd name="T16" fmla="*/ 3 w 21"/>
                  <a:gd name="T17" fmla="*/ 3 h 5"/>
                  <a:gd name="T18" fmla="*/ 2 w 21"/>
                  <a:gd name="T19" fmla="*/ 2 h 5"/>
                  <a:gd name="T20" fmla="*/ 3 w 21"/>
                  <a:gd name="T21" fmla="*/ 2 h 5"/>
                  <a:gd name="T22" fmla="*/ 18 w 21"/>
                  <a:gd name="T23" fmla="*/ 2 h 5"/>
                  <a:gd name="T24" fmla="*/ 19 w 21"/>
                  <a:gd name="T25" fmla="*/ 2 h 5"/>
                  <a:gd name="T26" fmla="*/ 18 w 21"/>
                  <a:gd name="T27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5">
                    <a:moveTo>
                      <a:pt x="18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4"/>
                      <a:pt x="1" y="5"/>
                      <a:pt x="3" y="5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20" y="5"/>
                      <a:pt x="21" y="4"/>
                      <a:pt x="21" y="2"/>
                    </a:cubicBezTo>
                    <a:cubicBezTo>
                      <a:pt x="21" y="1"/>
                      <a:pt x="20" y="0"/>
                      <a:pt x="18" y="0"/>
                    </a:cubicBezTo>
                    <a:close/>
                    <a:moveTo>
                      <a:pt x="18" y="3"/>
                    </a:move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2" y="2"/>
                      <a:pt x="2" y="2"/>
                    </a:cubicBezTo>
                    <a:cubicBezTo>
                      <a:pt x="2" y="2"/>
                      <a:pt x="2" y="2"/>
                      <a:pt x="3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8" y="2"/>
                      <a:pt x="19" y="2"/>
                      <a:pt x="19" y="2"/>
                    </a:cubicBezTo>
                    <a:cubicBezTo>
                      <a:pt x="19" y="2"/>
                      <a:pt x="18" y="3"/>
                      <a:pt x="18" y="3"/>
                    </a:cubicBez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0" name="Freeform 36"/>
              <p:cNvSpPr>
                <a:spLocks noEditPoints="1"/>
              </p:cNvSpPr>
              <p:nvPr/>
            </p:nvSpPr>
            <p:spPr bwMode="auto">
              <a:xfrm>
                <a:off x="14449425" y="2274888"/>
                <a:ext cx="33338" cy="33338"/>
              </a:xfrm>
              <a:custGeom>
                <a:avLst/>
                <a:gdLst>
                  <a:gd name="T0" fmla="*/ 8 w 9"/>
                  <a:gd name="T1" fmla="*/ 1 h 9"/>
                  <a:gd name="T2" fmla="*/ 4 w 9"/>
                  <a:gd name="T3" fmla="*/ 0 h 9"/>
                  <a:gd name="T4" fmla="*/ 1 w 9"/>
                  <a:gd name="T5" fmla="*/ 1 h 9"/>
                  <a:gd name="T6" fmla="*/ 1 w 9"/>
                  <a:gd name="T7" fmla="*/ 1 h 9"/>
                  <a:gd name="T8" fmla="*/ 0 w 9"/>
                  <a:gd name="T9" fmla="*/ 5 h 9"/>
                  <a:gd name="T10" fmla="*/ 1 w 9"/>
                  <a:gd name="T11" fmla="*/ 8 h 9"/>
                  <a:gd name="T12" fmla="*/ 1 w 9"/>
                  <a:gd name="T13" fmla="*/ 8 h 9"/>
                  <a:gd name="T14" fmla="*/ 4 w 9"/>
                  <a:gd name="T15" fmla="*/ 9 h 9"/>
                  <a:gd name="T16" fmla="*/ 8 w 9"/>
                  <a:gd name="T17" fmla="*/ 8 h 9"/>
                  <a:gd name="T18" fmla="*/ 9 w 9"/>
                  <a:gd name="T19" fmla="*/ 5 h 9"/>
                  <a:gd name="T20" fmla="*/ 8 w 9"/>
                  <a:gd name="T21" fmla="*/ 2 h 9"/>
                  <a:gd name="T22" fmla="*/ 8 w 9"/>
                  <a:gd name="T23" fmla="*/ 1 h 9"/>
                  <a:gd name="T24" fmla="*/ 6 w 9"/>
                  <a:gd name="T25" fmla="*/ 6 h 9"/>
                  <a:gd name="T26" fmla="*/ 3 w 9"/>
                  <a:gd name="T27" fmla="*/ 6 h 9"/>
                  <a:gd name="T28" fmla="*/ 2 w 9"/>
                  <a:gd name="T29" fmla="*/ 5 h 9"/>
                  <a:gd name="T30" fmla="*/ 2 w 9"/>
                  <a:gd name="T31" fmla="*/ 3 h 9"/>
                  <a:gd name="T32" fmla="*/ 3 w 9"/>
                  <a:gd name="T33" fmla="*/ 3 h 9"/>
                  <a:gd name="T34" fmla="*/ 6 w 9"/>
                  <a:gd name="T35" fmla="*/ 3 h 9"/>
                  <a:gd name="T36" fmla="*/ 7 w 9"/>
                  <a:gd name="T37" fmla="*/ 5 h 9"/>
                  <a:gd name="T38" fmla="*/ 6 w 9"/>
                  <a:gd name="T3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" h="9">
                    <a:moveTo>
                      <a:pt x="8" y="1"/>
                    </a:moveTo>
                    <a:cubicBezTo>
                      <a:pt x="7" y="1"/>
                      <a:pt x="6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2"/>
                      <a:pt x="0" y="3"/>
                      <a:pt x="0" y="5"/>
                    </a:cubicBezTo>
                    <a:cubicBezTo>
                      <a:pt x="0" y="6"/>
                      <a:pt x="0" y="7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2" y="9"/>
                      <a:pt x="3" y="9"/>
                      <a:pt x="4" y="9"/>
                    </a:cubicBezTo>
                    <a:cubicBezTo>
                      <a:pt x="6" y="9"/>
                      <a:pt x="7" y="9"/>
                      <a:pt x="8" y="8"/>
                    </a:cubicBezTo>
                    <a:cubicBezTo>
                      <a:pt x="8" y="7"/>
                      <a:pt x="9" y="6"/>
                      <a:pt x="9" y="5"/>
                    </a:cubicBezTo>
                    <a:cubicBezTo>
                      <a:pt x="9" y="3"/>
                      <a:pt x="9" y="2"/>
                      <a:pt x="8" y="2"/>
                    </a:cubicBezTo>
                    <a:lnTo>
                      <a:pt x="8" y="1"/>
                    </a:lnTo>
                    <a:close/>
                    <a:moveTo>
                      <a:pt x="6" y="6"/>
                    </a:moveTo>
                    <a:cubicBezTo>
                      <a:pt x="5" y="7"/>
                      <a:pt x="4" y="7"/>
                      <a:pt x="3" y="6"/>
                    </a:cubicBezTo>
                    <a:cubicBezTo>
                      <a:pt x="2" y="6"/>
                      <a:pt x="2" y="5"/>
                      <a:pt x="2" y="5"/>
                    </a:cubicBezTo>
                    <a:cubicBezTo>
                      <a:pt x="2" y="4"/>
                      <a:pt x="2" y="4"/>
                      <a:pt x="2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2"/>
                      <a:pt x="5" y="2"/>
                      <a:pt x="6" y="3"/>
                    </a:cubicBezTo>
                    <a:cubicBezTo>
                      <a:pt x="7" y="3"/>
                      <a:pt x="7" y="4"/>
                      <a:pt x="7" y="5"/>
                    </a:cubicBezTo>
                    <a:cubicBezTo>
                      <a:pt x="7" y="5"/>
                      <a:pt x="7" y="6"/>
                      <a:pt x="6" y="6"/>
                    </a:cubicBez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1" name="Freeform 37"/>
              <p:cNvSpPr>
                <a:spLocks noEditPoints="1"/>
              </p:cNvSpPr>
              <p:nvPr/>
            </p:nvSpPr>
            <p:spPr bwMode="auto">
              <a:xfrm>
                <a:off x="14427200" y="2093913"/>
                <a:ext cx="77788" cy="19050"/>
              </a:xfrm>
              <a:custGeom>
                <a:avLst/>
                <a:gdLst>
                  <a:gd name="T0" fmla="*/ 3 w 21"/>
                  <a:gd name="T1" fmla="*/ 5 h 5"/>
                  <a:gd name="T2" fmla="*/ 18 w 21"/>
                  <a:gd name="T3" fmla="*/ 5 h 5"/>
                  <a:gd name="T4" fmla="*/ 21 w 21"/>
                  <a:gd name="T5" fmla="*/ 3 h 5"/>
                  <a:gd name="T6" fmla="*/ 18 w 21"/>
                  <a:gd name="T7" fmla="*/ 0 h 5"/>
                  <a:gd name="T8" fmla="*/ 3 w 21"/>
                  <a:gd name="T9" fmla="*/ 0 h 5"/>
                  <a:gd name="T10" fmla="*/ 0 w 21"/>
                  <a:gd name="T11" fmla="*/ 3 h 5"/>
                  <a:gd name="T12" fmla="*/ 3 w 21"/>
                  <a:gd name="T13" fmla="*/ 5 h 5"/>
                  <a:gd name="T14" fmla="*/ 3 w 21"/>
                  <a:gd name="T15" fmla="*/ 2 h 5"/>
                  <a:gd name="T16" fmla="*/ 18 w 21"/>
                  <a:gd name="T17" fmla="*/ 2 h 5"/>
                  <a:gd name="T18" fmla="*/ 19 w 21"/>
                  <a:gd name="T19" fmla="*/ 3 h 5"/>
                  <a:gd name="T20" fmla="*/ 18 w 21"/>
                  <a:gd name="T21" fmla="*/ 3 h 5"/>
                  <a:gd name="T22" fmla="*/ 3 w 21"/>
                  <a:gd name="T23" fmla="*/ 3 h 5"/>
                  <a:gd name="T24" fmla="*/ 2 w 21"/>
                  <a:gd name="T25" fmla="*/ 3 h 5"/>
                  <a:gd name="T26" fmla="*/ 3 w 21"/>
                  <a:gd name="T27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5">
                    <a:moveTo>
                      <a:pt x="3" y="5"/>
                    </a:moveTo>
                    <a:cubicBezTo>
                      <a:pt x="18" y="5"/>
                      <a:pt x="18" y="5"/>
                      <a:pt x="18" y="5"/>
                    </a:cubicBezTo>
                    <a:cubicBezTo>
                      <a:pt x="20" y="5"/>
                      <a:pt x="21" y="4"/>
                      <a:pt x="21" y="3"/>
                    </a:cubicBezTo>
                    <a:cubicBezTo>
                      <a:pt x="21" y="1"/>
                      <a:pt x="20" y="0"/>
                      <a:pt x="18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4"/>
                      <a:pt x="1" y="5"/>
                      <a:pt x="3" y="5"/>
                    </a:cubicBezTo>
                    <a:close/>
                    <a:moveTo>
                      <a:pt x="3" y="2"/>
                    </a:moveTo>
                    <a:cubicBezTo>
                      <a:pt x="18" y="2"/>
                      <a:pt x="18" y="2"/>
                      <a:pt x="18" y="2"/>
                    </a:cubicBezTo>
                    <a:cubicBezTo>
                      <a:pt x="18" y="2"/>
                      <a:pt x="19" y="2"/>
                      <a:pt x="19" y="3"/>
                    </a:cubicBezTo>
                    <a:cubicBezTo>
                      <a:pt x="19" y="3"/>
                      <a:pt x="18" y="3"/>
                      <a:pt x="18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2"/>
                      <a:pt x="2" y="2"/>
                      <a:pt x="3" y="2"/>
                    </a:cubicBez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2" name="Freeform 38"/>
              <p:cNvSpPr>
                <a:spLocks noEditPoints="1"/>
              </p:cNvSpPr>
              <p:nvPr/>
            </p:nvSpPr>
            <p:spPr bwMode="auto">
              <a:xfrm>
                <a:off x="14404975" y="2049463"/>
                <a:ext cx="119063" cy="307975"/>
              </a:xfrm>
              <a:custGeom>
                <a:avLst/>
                <a:gdLst>
                  <a:gd name="T0" fmla="*/ 0 w 75"/>
                  <a:gd name="T1" fmla="*/ 194 h 194"/>
                  <a:gd name="T2" fmla="*/ 75 w 75"/>
                  <a:gd name="T3" fmla="*/ 194 h 194"/>
                  <a:gd name="T4" fmla="*/ 75 w 75"/>
                  <a:gd name="T5" fmla="*/ 0 h 194"/>
                  <a:gd name="T6" fmla="*/ 0 w 75"/>
                  <a:gd name="T7" fmla="*/ 0 h 194"/>
                  <a:gd name="T8" fmla="*/ 0 w 75"/>
                  <a:gd name="T9" fmla="*/ 194 h 194"/>
                  <a:gd name="T10" fmla="*/ 7 w 75"/>
                  <a:gd name="T11" fmla="*/ 4 h 194"/>
                  <a:gd name="T12" fmla="*/ 70 w 75"/>
                  <a:gd name="T13" fmla="*/ 4 h 194"/>
                  <a:gd name="T14" fmla="*/ 70 w 75"/>
                  <a:gd name="T15" fmla="*/ 189 h 194"/>
                  <a:gd name="T16" fmla="*/ 7 w 75"/>
                  <a:gd name="T17" fmla="*/ 189 h 194"/>
                  <a:gd name="T18" fmla="*/ 7 w 75"/>
                  <a:gd name="T19" fmla="*/ 4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5" h="194">
                    <a:moveTo>
                      <a:pt x="0" y="194"/>
                    </a:moveTo>
                    <a:lnTo>
                      <a:pt x="75" y="194"/>
                    </a:lnTo>
                    <a:lnTo>
                      <a:pt x="75" y="0"/>
                    </a:lnTo>
                    <a:lnTo>
                      <a:pt x="0" y="0"/>
                    </a:lnTo>
                    <a:lnTo>
                      <a:pt x="0" y="194"/>
                    </a:lnTo>
                    <a:close/>
                    <a:moveTo>
                      <a:pt x="7" y="4"/>
                    </a:moveTo>
                    <a:lnTo>
                      <a:pt x="70" y="4"/>
                    </a:lnTo>
                    <a:lnTo>
                      <a:pt x="70" y="189"/>
                    </a:lnTo>
                    <a:lnTo>
                      <a:pt x="7" y="189"/>
                    </a:lnTo>
                    <a:lnTo>
                      <a:pt x="7" y="4"/>
                    </a:ln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3" name="Freeform 39"/>
              <p:cNvSpPr>
                <a:spLocks noEditPoints="1"/>
              </p:cNvSpPr>
              <p:nvPr/>
            </p:nvSpPr>
            <p:spPr bwMode="auto">
              <a:xfrm>
                <a:off x="14081125" y="1973263"/>
                <a:ext cx="476250" cy="428625"/>
              </a:xfrm>
              <a:custGeom>
                <a:avLst/>
                <a:gdLst>
                  <a:gd name="T0" fmla="*/ 123 w 127"/>
                  <a:gd name="T1" fmla="*/ 13 h 114"/>
                  <a:gd name="T2" fmla="*/ 90 w 127"/>
                  <a:gd name="T3" fmla="*/ 13 h 114"/>
                  <a:gd name="T4" fmla="*/ 90 w 127"/>
                  <a:gd name="T5" fmla="*/ 5 h 114"/>
                  <a:gd name="T6" fmla="*/ 86 w 127"/>
                  <a:gd name="T7" fmla="*/ 0 h 114"/>
                  <a:gd name="T8" fmla="*/ 41 w 127"/>
                  <a:gd name="T9" fmla="*/ 0 h 114"/>
                  <a:gd name="T10" fmla="*/ 37 w 127"/>
                  <a:gd name="T11" fmla="*/ 5 h 114"/>
                  <a:gd name="T12" fmla="*/ 37 w 127"/>
                  <a:gd name="T13" fmla="*/ 13 h 114"/>
                  <a:gd name="T14" fmla="*/ 4 w 127"/>
                  <a:gd name="T15" fmla="*/ 13 h 114"/>
                  <a:gd name="T16" fmla="*/ 0 w 127"/>
                  <a:gd name="T17" fmla="*/ 18 h 114"/>
                  <a:gd name="T18" fmla="*/ 0 w 127"/>
                  <a:gd name="T19" fmla="*/ 104 h 114"/>
                  <a:gd name="T20" fmla="*/ 4 w 127"/>
                  <a:gd name="T21" fmla="*/ 108 h 114"/>
                  <a:gd name="T22" fmla="*/ 37 w 127"/>
                  <a:gd name="T23" fmla="*/ 108 h 114"/>
                  <a:gd name="T24" fmla="*/ 37 w 127"/>
                  <a:gd name="T25" fmla="*/ 110 h 114"/>
                  <a:gd name="T26" fmla="*/ 41 w 127"/>
                  <a:gd name="T27" fmla="*/ 114 h 114"/>
                  <a:gd name="T28" fmla="*/ 86 w 127"/>
                  <a:gd name="T29" fmla="*/ 114 h 114"/>
                  <a:gd name="T30" fmla="*/ 90 w 127"/>
                  <a:gd name="T31" fmla="*/ 110 h 114"/>
                  <a:gd name="T32" fmla="*/ 90 w 127"/>
                  <a:gd name="T33" fmla="*/ 108 h 114"/>
                  <a:gd name="T34" fmla="*/ 123 w 127"/>
                  <a:gd name="T35" fmla="*/ 108 h 114"/>
                  <a:gd name="T36" fmla="*/ 127 w 127"/>
                  <a:gd name="T37" fmla="*/ 104 h 114"/>
                  <a:gd name="T38" fmla="*/ 127 w 127"/>
                  <a:gd name="T39" fmla="*/ 18 h 114"/>
                  <a:gd name="T40" fmla="*/ 123 w 127"/>
                  <a:gd name="T41" fmla="*/ 13 h 114"/>
                  <a:gd name="T42" fmla="*/ 125 w 127"/>
                  <a:gd name="T43" fmla="*/ 104 h 114"/>
                  <a:gd name="T44" fmla="*/ 123 w 127"/>
                  <a:gd name="T45" fmla="*/ 106 h 114"/>
                  <a:gd name="T46" fmla="*/ 88 w 127"/>
                  <a:gd name="T47" fmla="*/ 106 h 114"/>
                  <a:gd name="T48" fmla="*/ 88 w 127"/>
                  <a:gd name="T49" fmla="*/ 110 h 114"/>
                  <a:gd name="T50" fmla="*/ 86 w 127"/>
                  <a:gd name="T51" fmla="*/ 112 h 114"/>
                  <a:gd name="T52" fmla="*/ 41 w 127"/>
                  <a:gd name="T53" fmla="*/ 112 h 114"/>
                  <a:gd name="T54" fmla="*/ 39 w 127"/>
                  <a:gd name="T55" fmla="*/ 110 h 114"/>
                  <a:gd name="T56" fmla="*/ 39 w 127"/>
                  <a:gd name="T57" fmla="*/ 106 h 114"/>
                  <a:gd name="T58" fmla="*/ 4 w 127"/>
                  <a:gd name="T59" fmla="*/ 106 h 114"/>
                  <a:gd name="T60" fmla="*/ 2 w 127"/>
                  <a:gd name="T61" fmla="*/ 104 h 114"/>
                  <a:gd name="T62" fmla="*/ 2 w 127"/>
                  <a:gd name="T63" fmla="*/ 18 h 114"/>
                  <a:gd name="T64" fmla="*/ 4 w 127"/>
                  <a:gd name="T65" fmla="*/ 16 h 114"/>
                  <a:gd name="T66" fmla="*/ 39 w 127"/>
                  <a:gd name="T67" fmla="*/ 16 h 114"/>
                  <a:gd name="T68" fmla="*/ 39 w 127"/>
                  <a:gd name="T69" fmla="*/ 5 h 114"/>
                  <a:gd name="T70" fmla="*/ 41 w 127"/>
                  <a:gd name="T71" fmla="*/ 2 h 114"/>
                  <a:gd name="T72" fmla="*/ 86 w 127"/>
                  <a:gd name="T73" fmla="*/ 2 h 114"/>
                  <a:gd name="T74" fmla="*/ 88 w 127"/>
                  <a:gd name="T75" fmla="*/ 5 h 114"/>
                  <a:gd name="T76" fmla="*/ 88 w 127"/>
                  <a:gd name="T77" fmla="*/ 16 h 114"/>
                  <a:gd name="T78" fmla="*/ 123 w 127"/>
                  <a:gd name="T79" fmla="*/ 16 h 114"/>
                  <a:gd name="T80" fmla="*/ 125 w 127"/>
                  <a:gd name="T81" fmla="*/ 18 h 114"/>
                  <a:gd name="T82" fmla="*/ 125 w 127"/>
                  <a:gd name="T83" fmla="*/ 10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7" h="114">
                    <a:moveTo>
                      <a:pt x="123" y="13"/>
                    </a:moveTo>
                    <a:cubicBezTo>
                      <a:pt x="90" y="13"/>
                      <a:pt x="90" y="13"/>
                      <a:pt x="90" y="13"/>
                    </a:cubicBezTo>
                    <a:cubicBezTo>
                      <a:pt x="90" y="5"/>
                      <a:pt x="90" y="5"/>
                      <a:pt x="90" y="5"/>
                    </a:cubicBezTo>
                    <a:cubicBezTo>
                      <a:pt x="90" y="2"/>
                      <a:pt x="88" y="0"/>
                      <a:pt x="86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39" y="0"/>
                      <a:pt x="37" y="2"/>
                      <a:pt x="37" y="5"/>
                    </a:cubicBezTo>
                    <a:cubicBezTo>
                      <a:pt x="37" y="13"/>
                      <a:pt x="37" y="13"/>
                      <a:pt x="37" y="13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3"/>
                      <a:pt x="0" y="15"/>
                      <a:pt x="0" y="18"/>
                    </a:cubicBezTo>
                    <a:cubicBezTo>
                      <a:pt x="0" y="104"/>
                      <a:pt x="0" y="104"/>
                      <a:pt x="0" y="104"/>
                    </a:cubicBezTo>
                    <a:cubicBezTo>
                      <a:pt x="0" y="106"/>
                      <a:pt x="2" y="108"/>
                      <a:pt x="4" y="108"/>
                    </a:cubicBezTo>
                    <a:cubicBezTo>
                      <a:pt x="37" y="108"/>
                      <a:pt x="37" y="108"/>
                      <a:pt x="37" y="108"/>
                    </a:cubicBezTo>
                    <a:cubicBezTo>
                      <a:pt x="37" y="110"/>
                      <a:pt x="37" y="110"/>
                      <a:pt x="37" y="110"/>
                    </a:cubicBezTo>
                    <a:cubicBezTo>
                      <a:pt x="37" y="112"/>
                      <a:pt x="39" y="114"/>
                      <a:pt x="41" y="114"/>
                    </a:cubicBezTo>
                    <a:cubicBezTo>
                      <a:pt x="86" y="114"/>
                      <a:pt x="86" y="114"/>
                      <a:pt x="86" y="114"/>
                    </a:cubicBezTo>
                    <a:cubicBezTo>
                      <a:pt x="88" y="114"/>
                      <a:pt x="90" y="112"/>
                      <a:pt x="90" y="110"/>
                    </a:cubicBezTo>
                    <a:cubicBezTo>
                      <a:pt x="90" y="108"/>
                      <a:pt x="90" y="108"/>
                      <a:pt x="90" y="108"/>
                    </a:cubicBezTo>
                    <a:cubicBezTo>
                      <a:pt x="123" y="108"/>
                      <a:pt x="123" y="108"/>
                      <a:pt x="123" y="108"/>
                    </a:cubicBezTo>
                    <a:cubicBezTo>
                      <a:pt x="125" y="108"/>
                      <a:pt x="127" y="106"/>
                      <a:pt x="127" y="104"/>
                    </a:cubicBezTo>
                    <a:cubicBezTo>
                      <a:pt x="127" y="18"/>
                      <a:pt x="127" y="18"/>
                      <a:pt x="127" y="18"/>
                    </a:cubicBezTo>
                    <a:cubicBezTo>
                      <a:pt x="127" y="15"/>
                      <a:pt x="125" y="13"/>
                      <a:pt x="123" y="13"/>
                    </a:cubicBezTo>
                    <a:close/>
                    <a:moveTo>
                      <a:pt x="125" y="104"/>
                    </a:moveTo>
                    <a:cubicBezTo>
                      <a:pt x="125" y="105"/>
                      <a:pt x="124" y="106"/>
                      <a:pt x="123" y="106"/>
                    </a:cubicBezTo>
                    <a:cubicBezTo>
                      <a:pt x="88" y="106"/>
                      <a:pt x="88" y="106"/>
                      <a:pt x="88" y="106"/>
                    </a:cubicBezTo>
                    <a:cubicBezTo>
                      <a:pt x="88" y="110"/>
                      <a:pt x="88" y="110"/>
                      <a:pt x="88" y="110"/>
                    </a:cubicBezTo>
                    <a:cubicBezTo>
                      <a:pt x="88" y="111"/>
                      <a:pt x="87" y="112"/>
                      <a:pt x="86" y="112"/>
                    </a:cubicBezTo>
                    <a:cubicBezTo>
                      <a:pt x="41" y="112"/>
                      <a:pt x="41" y="112"/>
                      <a:pt x="41" y="112"/>
                    </a:cubicBezTo>
                    <a:cubicBezTo>
                      <a:pt x="40" y="112"/>
                      <a:pt x="39" y="111"/>
                      <a:pt x="39" y="110"/>
                    </a:cubicBezTo>
                    <a:cubicBezTo>
                      <a:pt x="39" y="106"/>
                      <a:pt x="39" y="106"/>
                      <a:pt x="39" y="106"/>
                    </a:cubicBezTo>
                    <a:cubicBezTo>
                      <a:pt x="4" y="106"/>
                      <a:pt x="4" y="106"/>
                      <a:pt x="4" y="106"/>
                    </a:cubicBezTo>
                    <a:cubicBezTo>
                      <a:pt x="3" y="106"/>
                      <a:pt x="2" y="105"/>
                      <a:pt x="2" y="104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2" y="17"/>
                      <a:pt x="3" y="16"/>
                      <a:pt x="4" y="16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9" y="3"/>
                      <a:pt x="40" y="2"/>
                      <a:pt x="41" y="2"/>
                    </a:cubicBezTo>
                    <a:cubicBezTo>
                      <a:pt x="86" y="2"/>
                      <a:pt x="86" y="2"/>
                      <a:pt x="86" y="2"/>
                    </a:cubicBezTo>
                    <a:cubicBezTo>
                      <a:pt x="87" y="2"/>
                      <a:pt x="88" y="3"/>
                      <a:pt x="88" y="5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123" y="16"/>
                      <a:pt x="123" y="16"/>
                      <a:pt x="123" y="16"/>
                    </a:cubicBezTo>
                    <a:cubicBezTo>
                      <a:pt x="124" y="16"/>
                      <a:pt x="125" y="17"/>
                      <a:pt x="125" y="18"/>
                    </a:cubicBezTo>
                    <a:lnTo>
                      <a:pt x="125" y="104"/>
                    </a:ln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4" name="Freeform 40"/>
              <p:cNvSpPr>
                <a:spLocks noEditPoints="1"/>
              </p:cNvSpPr>
              <p:nvPr/>
            </p:nvSpPr>
            <p:spPr bwMode="auto">
              <a:xfrm>
                <a:off x="14273213" y="2055813"/>
                <a:ext cx="93663" cy="23813"/>
              </a:xfrm>
              <a:custGeom>
                <a:avLst/>
                <a:gdLst>
                  <a:gd name="T0" fmla="*/ 3 w 25"/>
                  <a:gd name="T1" fmla="*/ 6 h 6"/>
                  <a:gd name="T2" fmla="*/ 22 w 25"/>
                  <a:gd name="T3" fmla="*/ 6 h 6"/>
                  <a:gd name="T4" fmla="*/ 25 w 25"/>
                  <a:gd name="T5" fmla="*/ 3 h 6"/>
                  <a:gd name="T6" fmla="*/ 22 w 25"/>
                  <a:gd name="T7" fmla="*/ 0 h 6"/>
                  <a:gd name="T8" fmla="*/ 3 w 25"/>
                  <a:gd name="T9" fmla="*/ 0 h 6"/>
                  <a:gd name="T10" fmla="*/ 0 w 25"/>
                  <a:gd name="T11" fmla="*/ 3 h 6"/>
                  <a:gd name="T12" fmla="*/ 3 w 25"/>
                  <a:gd name="T13" fmla="*/ 6 h 6"/>
                  <a:gd name="T14" fmla="*/ 3 w 25"/>
                  <a:gd name="T15" fmla="*/ 3 h 6"/>
                  <a:gd name="T16" fmla="*/ 22 w 25"/>
                  <a:gd name="T17" fmla="*/ 3 h 6"/>
                  <a:gd name="T18" fmla="*/ 22 w 25"/>
                  <a:gd name="T19" fmla="*/ 3 h 6"/>
                  <a:gd name="T20" fmla="*/ 22 w 25"/>
                  <a:gd name="T21" fmla="*/ 4 h 6"/>
                  <a:gd name="T22" fmla="*/ 3 w 25"/>
                  <a:gd name="T23" fmla="*/ 4 h 6"/>
                  <a:gd name="T24" fmla="*/ 2 w 25"/>
                  <a:gd name="T25" fmla="*/ 3 h 6"/>
                  <a:gd name="T26" fmla="*/ 3 w 25"/>
                  <a:gd name="T27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" h="6">
                    <a:moveTo>
                      <a:pt x="3" y="6"/>
                    </a:moveTo>
                    <a:cubicBezTo>
                      <a:pt x="22" y="6"/>
                      <a:pt x="22" y="6"/>
                      <a:pt x="22" y="6"/>
                    </a:cubicBezTo>
                    <a:cubicBezTo>
                      <a:pt x="24" y="6"/>
                      <a:pt x="25" y="5"/>
                      <a:pt x="25" y="3"/>
                    </a:cubicBezTo>
                    <a:cubicBezTo>
                      <a:pt x="25" y="2"/>
                      <a:pt x="24" y="0"/>
                      <a:pt x="2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2"/>
                      <a:pt x="0" y="3"/>
                    </a:cubicBezTo>
                    <a:cubicBezTo>
                      <a:pt x="0" y="5"/>
                      <a:pt x="1" y="6"/>
                      <a:pt x="3" y="6"/>
                    </a:cubicBezTo>
                    <a:close/>
                    <a:moveTo>
                      <a:pt x="3" y="3"/>
                    </a:moveTo>
                    <a:cubicBezTo>
                      <a:pt x="22" y="3"/>
                      <a:pt x="22" y="3"/>
                      <a:pt x="22" y="3"/>
                    </a:cubicBezTo>
                    <a:cubicBezTo>
                      <a:pt x="22" y="3"/>
                      <a:pt x="22" y="3"/>
                      <a:pt x="22" y="3"/>
                    </a:cubicBezTo>
                    <a:cubicBezTo>
                      <a:pt x="22" y="3"/>
                      <a:pt x="22" y="4"/>
                      <a:pt x="22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2" y="3"/>
                      <a:pt x="2" y="3"/>
                    </a:cubicBezTo>
                    <a:cubicBezTo>
                      <a:pt x="2" y="3"/>
                      <a:pt x="3" y="3"/>
                      <a:pt x="3" y="3"/>
                    </a:cubicBez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5" name="Freeform 41"/>
              <p:cNvSpPr>
                <a:spLocks noEditPoints="1"/>
              </p:cNvSpPr>
              <p:nvPr/>
            </p:nvSpPr>
            <p:spPr bwMode="auto">
              <a:xfrm>
                <a:off x="14273213" y="2101851"/>
                <a:ext cx="93663" cy="22225"/>
              </a:xfrm>
              <a:custGeom>
                <a:avLst/>
                <a:gdLst>
                  <a:gd name="T0" fmla="*/ 3 w 25"/>
                  <a:gd name="T1" fmla="*/ 6 h 6"/>
                  <a:gd name="T2" fmla="*/ 22 w 25"/>
                  <a:gd name="T3" fmla="*/ 6 h 6"/>
                  <a:gd name="T4" fmla="*/ 25 w 25"/>
                  <a:gd name="T5" fmla="*/ 3 h 6"/>
                  <a:gd name="T6" fmla="*/ 22 w 25"/>
                  <a:gd name="T7" fmla="*/ 0 h 6"/>
                  <a:gd name="T8" fmla="*/ 3 w 25"/>
                  <a:gd name="T9" fmla="*/ 0 h 6"/>
                  <a:gd name="T10" fmla="*/ 0 w 25"/>
                  <a:gd name="T11" fmla="*/ 3 h 6"/>
                  <a:gd name="T12" fmla="*/ 3 w 25"/>
                  <a:gd name="T13" fmla="*/ 6 h 6"/>
                  <a:gd name="T14" fmla="*/ 3 w 25"/>
                  <a:gd name="T15" fmla="*/ 3 h 6"/>
                  <a:gd name="T16" fmla="*/ 22 w 25"/>
                  <a:gd name="T17" fmla="*/ 3 h 6"/>
                  <a:gd name="T18" fmla="*/ 22 w 25"/>
                  <a:gd name="T19" fmla="*/ 3 h 6"/>
                  <a:gd name="T20" fmla="*/ 22 w 25"/>
                  <a:gd name="T21" fmla="*/ 4 h 6"/>
                  <a:gd name="T22" fmla="*/ 3 w 25"/>
                  <a:gd name="T23" fmla="*/ 4 h 6"/>
                  <a:gd name="T24" fmla="*/ 2 w 25"/>
                  <a:gd name="T25" fmla="*/ 3 h 6"/>
                  <a:gd name="T26" fmla="*/ 3 w 25"/>
                  <a:gd name="T27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" h="6">
                    <a:moveTo>
                      <a:pt x="3" y="6"/>
                    </a:moveTo>
                    <a:cubicBezTo>
                      <a:pt x="22" y="6"/>
                      <a:pt x="22" y="6"/>
                      <a:pt x="22" y="6"/>
                    </a:cubicBezTo>
                    <a:cubicBezTo>
                      <a:pt x="24" y="6"/>
                      <a:pt x="25" y="5"/>
                      <a:pt x="25" y="3"/>
                    </a:cubicBezTo>
                    <a:cubicBezTo>
                      <a:pt x="25" y="2"/>
                      <a:pt x="24" y="0"/>
                      <a:pt x="2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2"/>
                      <a:pt x="0" y="3"/>
                    </a:cubicBezTo>
                    <a:cubicBezTo>
                      <a:pt x="0" y="5"/>
                      <a:pt x="1" y="6"/>
                      <a:pt x="3" y="6"/>
                    </a:cubicBezTo>
                    <a:close/>
                    <a:moveTo>
                      <a:pt x="3" y="3"/>
                    </a:moveTo>
                    <a:cubicBezTo>
                      <a:pt x="22" y="3"/>
                      <a:pt x="22" y="3"/>
                      <a:pt x="22" y="3"/>
                    </a:cubicBezTo>
                    <a:cubicBezTo>
                      <a:pt x="22" y="3"/>
                      <a:pt x="22" y="3"/>
                      <a:pt x="22" y="3"/>
                    </a:cubicBezTo>
                    <a:cubicBezTo>
                      <a:pt x="22" y="3"/>
                      <a:pt x="22" y="4"/>
                      <a:pt x="22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2" y="3"/>
                      <a:pt x="2" y="3"/>
                    </a:cubicBezTo>
                    <a:cubicBezTo>
                      <a:pt x="2" y="3"/>
                      <a:pt x="3" y="3"/>
                      <a:pt x="3" y="3"/>
                    </a:cubicBez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6" name="Freeform 42"/>
              <p:cNvSpPr>
                <a:spLocks noEditPoints="1"/>
              </p:cNvSpPr>
              <p:nvPr/>
            </p:nvSpPr>
            <p:spPr bwMode="auto">
              <a:xfrm>
                <a:off x="14273213" y="2143126"/>
                <a:ext cx="93663" cy="19050"/>
              </a:xfrm>
              <a:custGeom>
                <a:avLst/>
                <a:gdLst>
                  <a:gd name="T0" fmla="*/ 3 w 25"/>
                  <a:gd name="T1" fmla="*/ 5 h 5"/>
                  <a:gd name="T2" fmla="*/ 22 w 25"/>
                  <a:gd name="T3" fmla="*/ 5 h 5"/>
                  <a:gd name="T4" fmla="*/ 25 w 25"/>
                  <a:gd name="T5" fmla="*/ 2 h 5"/>
                  <a:gd name="T6" fmla="*/ 22 w 25"/>
                  <a:gd name="T7" fmla="*/ 0 h 5"/>
                  <a:gd name="T8" fmla="*/ 3 w 25"/>
                  <a:gd name="T9" fmla="*/ 0 h 5"/>
                  <a:gd name="T10" fmla="*/ 0 w 25"/>
                  <a:gd name="T11" fmla="*/ 2 h 5"/>
                  <a:gd name="T12" fmla="*/ 3 w 25"/>
                  <a:gd name="T13" fmla="*/ 5 h 5"/>
                  <a:gd name="T14" fmla="*/ 3 w 25"/>
                  <a:gd name="T15" fmla="*/ 2 h 5"/>
                  <a:gd name="T16" fmla="*/ 22 w 25"/>
                  <a:gd name="T17" fmla="*/ 2 h 5"/>
                  <a:gd name="T18" fmla="*/ 22 w 25"/>
                  <a:gd name="T19" fmla="*/ 2 h 5"/>
                  <a:gd name="T20" fmla="*/ 22 w 25"/>
                  <a:gd name="T21" fmla="*/ 3 h 5"/>
                  <a:gd name="T22" fmla="*/ 3 w 25"/>
                  <a:gd name="T23" fmla="*/ 3 h 5"/>
                  <a:gd name="T24" fmla="*/ 2 w 25"/>
                  <a:gd name="T25" fmla="*/ 2 h 5"/>
                  <a:gd name="T26" fmla="*/ 3 w 25"/>
                  <a:gd name="T27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" h="5">
                    <a:moveTo>
                      <a:pt x="3" y="5"/>
                    </a:moveTo>
                    <a:cubicBezTo>
                      <a:pt x="22" y="5"/>
                      <a:pt x="22" y="5"/>
                      <a:pt x="22" y="5"/>
                    </a:cubicBezTo>
                    <a:cubicBezTo>
                      <a:pt x="24" y="5"/>
                      <a:pt x="25" y="4"/>
                      <a:pt x="25" y="2"/>
                    </a:cubicBezTo>
                    <a:cubicBezTo>
                      <a:pt x="25" y="1"/>
                      <a:pt x="24" y="0"/>
                      <a:pt x="2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4"/>
                      <a:pt x="1" y="5"/>
                      <a:pt x="3" y="5"/>
                    </a:cubicBezTo>
                    <a:close/>
                    <a:moveTo>
                      <a:pt x="3" y="2"/>
                    </a:moveTo>
                    <a:cubicBezTo>
                      <a:pt x="22" y="2"/>
                      <a:pt x="22" y="2"/>
                      <a:pt x="22" y="2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2" y="3"/>
                      <a:pt x="22" y="3"/>
                      <a:pt x="22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2" y="3"/>
                      <a:pt x="2" y="2"/>
                    </a:cubicBezTo>
                    <a:cubicBezTo>
                      <a:pt x="2" y="2"/>
                      <a:pt x="3" y="2"/>
                      <a:pt x="3" y="2"/>
                    </a:cubicBez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120" name="Gruppieren 119"/>
            <p:cNvGrpSpPr/>
            <p:nvPr/>
          </p:nvGrpSpPr>
          <p:grpSpPr>
            <a:xfrm>
              <a:off x="8255957" y="838299"/>
              <a:ext cx="762728" cy="634787"/>
              <a:chOff x="13676313" y="2487613"/>
              <a:chExt cx="492125" cy="409575"/>
            </a:xfrm>
          </p:grpSpPr>
          <p:sp>
            <p:nvSpPr>
              <p:cNvPr id="79" name="Freeform 25"/>
              <p:cNvSpPr>
                <a:spLocks noEditPoints="1"/>
              </p:cNvSpPr>
              <p:nvPr/>
            </p:nvSpPr>
            <p:spPr bwMode="auto">
              <a:xfrm>
                <a:off x="13857288" y="2740026"/>
                <a:ext cx="107950" cy="71438"/>
              </a:xfrm>
              <a:custGeom>
                <a:avLst/>
                <a:gdLst>
                  <a:gd name="T0" fmla="*/ 0 w 29"/>
                  <a:gd name="T1" fmla="*/ 0 h 19"/>
                  <a:gd name="T2" fmla="*/ 5 w 29"/>
                  <a:gd name="T3" fmla="*/ 19 h 19"/>
                  <a:gd name="T4" fmla="*/ 29 w 29"/>
                  <a:gd name="T5" fmla="*/ 0 h 19"/>
                  <a:gd name="T6" fmla="*/ 0 w 29"/>
                  <a:gd name="T7" fmla="*/ 0 h 19"/>
                  <a:gd name="T8" fmla="*/ 2 w 29"/>
                  <a:gd name="T9" fmla="*/ 3 h 19"/>
                  <a:gd name="T10" fmla="*/ 23 w 29"/>
                  <a:gd name="T11" fmla="*/ 3 h 19"/>
                  <a:gd name="T12" fmla="*/ 6 w 29"/>
                  <a:gd name="T13" fmla="*/ 16 h 19"/>
                  <a:gd name="T14" fmla="*/ 2 w 29"/>
                  <a:gd name="T15" fmla="*/ 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19">
                    <a:moveTo>
                      <a:pt x="0" y="0"/>
                    </a:moveTo>
                    <a:cubicBezTo>
                      <a:pt x="0" y="7"/>
                      <a:pt x="2" y="13"/>
                      <a:pt x="5" y="19"/>
                    </a:cubicBezTo>
                    <a:cubicBezTo>
                      <a:pt x="29" y="0"/>
                      <a:pt x="29" y="0"/>
                      <a:pt x="29" y="0"/>
                    </a:cubicBezTo>
                    <a:lnTo>
                      <a:pt x="0" y="0"/>
                    </a:lnTo>
                    <a:close/>
                    <a:moveTo>
                      <a:pt x="2" y="3"/>
                    </a:moveTo>
                    <a:cubicBezTo>
                      <a:pt x="23" y="3"/>
                      <a:pt x="23" y="3"/>
                      <a:pt x="23" y="3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4" y="12"/>
                      <a:pt x="3" y="7"/>
                      <a:pt x="2" y="3"/>
                    </a:cubicBezTo>
                    <a:close/>
                  </a:path>
                </a:pathLst>
              </a:custGeom>
              <a:solidFill>
                <a:srgbClr val="3F96C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0" name="Freeform 26"/>
              <p:cNvSpPr>
                <a:spLocks noEditPoints="1"/>
              </p:cNvSpPr>
              <p:nvPr/>
            </p:nvSpPr>
            <p:spPr bwMode="auto">
              <a:xfrm>
                <a:off x="13887450" y="2751138"/>
                <a:ext cx="100013" cy="112713"/>
              </a:xfrm>
              <a:custGeom>
                <a:avLst/>
                <a:gdLst>
                  <a:gd name="T0" fmla="*/ 0 w 27"/>
                  <a:gd name="T1" fmla="*/ 21 h 30"/>
                  <a:gd name="T2" fmla="*/ 10 w 27"/>
                  <a:gd name="T3" fmla="*/ 30 h 30"/>
                  <a:gd name="T4" fmla="*/ 22 w 27"/>
                  <a:gd name="T5" fmla="*/ 16 h 30"/>
                  <a:gd name="T6" fmla="*/ 27 w 27"/>
                  <a:gd name="T7" fmla="*/ 0 h 30"/>
                  <a:gd name="T8" fmla="*/ 0 w 27"/>
                  <a:gd name="T9" fmla="*/ 21 h 30"/>
                  <a:gd name="T10" fmla="*/ 20 w 27"/>
                  <a:gd name="T11" fmla="*/ 15 h 30"/>
                  <a:gd name="T12" fmla="*/ 10 w 27"/>
                  <a:gd name="T13" fmla="*/ 28 h 30"/>
                  <a:gd name="T14" fmla="*/ 3 w 27"/>
                  <a:gd name="T15" fmla="*/ 21 h 30"/>
                  <a:gd name="T16" fmla="*/ 24 w 27"/>
                  <a:gd name="T17" fmla="*/ 6 h 30"/>
                  <a:gd name="T18" fmla="*/ 20 w 27"/>
                  <a:gd name="T1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30">
                    <a:moveTo>
                      <a:pt x="0" y="21"/>
                    </a:moveTo>
                    <a:cubicBezTo>
                      <a:pt x="3" y="25"/>
                      <a:pt x="6" y="28"/>
                      <a:pt x="10" y="30"/>
                    </a:cubicBezTo>
                    <a:cubicBezTo>
                      <a:pt x="15" y="27"/>
                      <a:pt x="19" y="22"/>
                      <a:pt x="22" y="16"/>
                    </a:cubicBezTo>
                    <a:cubicBezTo>
                      <a:pt x="25" y="11"/>
                      <a:pt x="26" y="6"/>
                      <a:pt x="27" y="0"/>
                    </a:cubicBezTo>
                    <a:lnTo>
                      <a:pt x="0" y="21"/>
                    </a:lnTo>
                    <a:close/>
                    <a:moveTo>
                      <a:pt x="20" y="15"/>
                    </a:moveTo>
                    <a:cubicBezTo>
                      <a:pt x="17" y="20"/>
                      <a:pt x="14" y="24"/>
                      <a:pt x="10" y="28"/>
                    </a:cubicBezTo>
                    <a:cubicBezTo>
                      <a:pt x="7" y="26"/>
                      <a:pt x="5" y="24"/>
                      <a:pt x="3" y="21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3" y="9"/>
                      <a:pt x="22" y="12"/>
                      <a:pt x="20" y="15"/>
                    </a:cubicBezTo>
                    <a:close/>
                  </a:path>
                </a:pathLst>
              </a:custGeom>
              <a:solidFill>
                <a:srgbClr val="3F96C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1" name="Freeform 27"/>
              <p:cNvSpPr>
                <a:spLocks noEditPoints="1"/>
              </p:cNvSpPr>
              <p:nvPr/>
            </p:nvSpPr>
            <p:spPr bwMode="auto">
              <a:xfrm>
                <a:off x="13827125" y="2709863"/>
                <a:ext cx="190500" cy="187325"/>
              </a:xfrm>
              <a:custGeom>
                <a:avLst/>
                <a:gdLst>
                  <a:gd name="T0" fmla="*/ 51 w 51"/>
                  <a:gd name="T1" fmla="*/ 8 h 50"/>
                  <a:gd name="T2" fmla="*/ 50 w 51"/>
                  <a:gd name="T3" fmla="*/ 3 h 50"/>
                  <a:gd name="T4" fmla="*/ 48 w 51"/>
                  <a:gd name="T5" fmla="*/ 1 h 50"/>
                  <a:gd name="T6" fmla="*/ 46 w 51"/>
                  <a:gd name="T7" fmla="*/ 0 h 50"/>
                  <a:gd name="T8" fmla="*/ 5 w 51"/>
                  <a:gd name="T9" fmla="*/ 0 h 50"/>
                  <a:gd name="T10" fmla="*/ 3 w 51"/>
                  <a:gd name="T11" fmla="*/ 1 h 50"/>
                  <a:gd name="T12" fmla="*/ 1 w 51"/>
                  <a:gd name="T13" fmla="*/ 3 h 50"/>
                  <a:gd name="T14" fmla="*/ 0 w 51"/>
                  <a:gd name="T15" fmla="*/ 6 h 50"/>
                  <a:gd name="T16" fmla="*/ 0 w 51"/>
                  <a:gd name="T17" fmla="*/ 8 h 50"/>
                  <a:gd name="T18" fmla="*/ 6 w 51"/>
                  <a:gd name="T19" fmla="*/ 31 h 50"/>
                  <a:gd name="T20" fmla="*/ 23 w 51"/>
                  <a:gd name="T21" fmla="*/ 49 h 50"/>
                  <a:gd name="T22" fmla="*/ 25 w 51"/>
                  <a:gd name="T23" fmla="*/ 50 h 50"/>
                  <a:gd name="T24" fmla="*/ 26 w 51"/>
                  <a:gd name="T25" fmla="*/ 50 h 50"/>
                  <a:gd name="T26" fmla="*/ 26 w 51"/>
                  <a:gd name="T27" fmla="*/ 50 h 50"/>
                  <a:gd name="T28" fmla="*/ 29 w 51"/>
                  <a:gd name="T29" fmla="*/ 49 h 50"/>
                  <a:gd name="T30" fmla="*/ 45 w 51"/>
                  <a:gd name="T31" fmla="*/ 31 h 50"/>
                  <a:gd name="T32" fmla="*/ 51 w 51"/>
                  <a:gd name="T33" fmla="*/ 8 h 50"/>
                  <a:gd name="T34" fmla="*/ 24 w 51"/>
                  <a:gd name="T35" fmla="*/ 47 h 50"/>
                  <a:gd name="T36" fmla="*/ 8 w 51"/>
                  <a:gd name="T37" fmla="*/ 30 h 50"/>
                  <a:gd name="T38" fmla="*/ 8 w 51"/>
                  <a:gd name="T39" fmla="*/ 30 h 50"/>
                  <a:gd name="T40" fmla="*/ 2 w 51"/>
                  <a:gd name="T41" fmla="*/ 8 h 50"/>
                  <a:gd name="T42" fmla="*/ 2 w 51"/>
                  <a:gd name="T43" fmla="*/ 8 h 50"/>
                  <a:gd name="T44" fmla="*/ 2 w 51"/>
                  <a:gd name="T45" fmla="*/ 8 h 50"/>
                  <a:gd name="T46" fmla="*/ 5 w 51"/>
                  <a:gd name="T47" fmla="*/ 3 h 50"/>
                  <a:gd name="T48" fmla="*/ 46 w 51"/>
                  <a:gd name="T49" fmla="*/ 3 h 50"/>
                  <a:gd name="T50" fmla="*/ 46 w 51"/>
                  <a:gd name="T51" fmla="*/ 3 h 50"/>
                  <a:gd name="T52" fmla="*/ 49 w 51"/>
                  <a:gd name="T53" fmla="*/ 8 h 50"/>
                  <a:gd name="T54" fmla="*/ 49 w 51"/>
                  <a:gd name="T55" fmla="*/ 8 h 50"/>
                  <a:gd name="T56" fmla="*/ 43 w 51"/>
                  <a:gd name="T57" fmla="*/ 30 h 50"/>
                  <a:gd name="T58" fmla="*/ 27 w 51"/>
                  <a:gd name="T59" fmla="*/ 47 h 50"/>
                  <a:gd name="T60" fmla="*/ 27 w 51"/>
                  <a:gd name="T61" fmla="*/ 47 h 50"/>
                  <a:gd name="T62" fmla="*/ 24 w 51"/>
                  <a:gd name="T63" fmla="*/ 4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1" h="50">
                    <a:moveTo>
                      <a:pt x="51" y="8"/>
                    </a:moveTo>
                    <a:cubicBezTo>
                      <a:pt x="51" y="7"/>
                      <a:pt x="51" y="5"/>
                      <a:pt x="50" y="3"/>
                    </a:cubicBezTo>
                    <a:cubicBezTo>
                      <a:pt x="50" y="2"/>
                      <a:pt x="49" y="1"/>
                      <a:pt x="48" y="1"/>
                    </a:cubicBezTo>
                    <a:cubicBezTo>
                      <a:pt x="47" y="1"/>
                      <a:pt x="47" y="0"/>
                      <a:pt x="46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4" y="1"/>
                      <a:pt x="3" y="1"/>
                    </a:cubicBezTo>
                    <a:cubicBezTo>
                      <a:pt x="2" y="1"/>
                      <a:pt x="1" y="2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6"/>
                      <a:pt x="2" y="24"/>
                      <a:pt x="6" y="31"/>
                    </a:cubicBezTo>
                    <a:cubicBezTo>
                      <a:pt x="10" y="38"/>
                      <a:pt x="16" y="44"/>
                      <a:pt x="23" y="49"/>
                    </a:cubicBezTo>
                    <a:cubicBezTo>
                      <a:pt x="23" y="50"/>
                      <a:pt x="24" y="50"/>
                      <a:pt x="25" y="50"/>
                    </a:cubicBezTo>
                    <a:cubicBezTo>
                      <a:pt x="25" y="50"/>
                      <a:pt x="25" y="50"/>
                      <a:pt x="26" y="50"/>
                    </a:cubicBezTo>
                    <a:cubicBezTo>
                      <a:pt x="26" y="50"/>
                      <a:pt x="26" y="50"/>
                      <a:pt x="26" y="50"/>
                    </a:cubicBezTo>
                    <a:cubicBezTo>
                      <a:pt x="27" y="50"/>
                      <a:pt x="28" y="50"/>
                      <a:pt x="29" y="49"/>
                    </a:cubicBezTo>
                    <a:cubicBezTo>
                      <a:pt x="35" y="44"/>
                      <a:pt x="41" y="38"/>
                      <a:pt x="45" y="31"/>
                    </a:cubicBezTo>
                    <a:cubicBezTo>
                      <a:pt x="49" y="24"/>
                      <a:pt x="51" y="16"/>
                      <a:pt x="51" y="8"/>
                    </a:cubicBezTo>
                    <a:close/>
                    <a:moveTo>
                      <a:pt x="24" y="47"/>
                    </a:moveTo>
                    <a:cubicBezTo>
                      <a:pt x="17" y="43"/>
                      <a:pt x="12" y="37"/>
                      <a:pt x="8" y="30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4" y="24"/>
                      <a:pt x="2" y="16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6"/>
                      <a:pt x="2" y="3"/>
                      <a:pt x="5" y="3"/>
                    </a:cubicBezTo>
                    <a:cubicBezTo>
                      <a:pt x="46" y="3"/>
                      <a:pt x="46" y="3"/>
                      <a:pt x="46" y="3"/>
                    </a:cubicBezTo>
                    <a:cubicBezTo>
                      <a:pt x="46" y="3"/>
                      <a:pt x="46" y="3"/>
                      <a:pt x="46" y="3"/>
                    </a:cubicBezTo>
                    <a:cubicBezTo>
                      <a:pt x="49" y="3"/>
                      <a:pt x="49" y="6"/>
                      <a:pt x="49" y="8"/>
                    </a:cubicBezTo>
                    <a:cubicBezTo>
                      <a:pt x="49" y="8"/>
                      <a:pt x="49" y="8"/>
                      <a:pt x="49" y="8"/>
                    </a:cubicBezTo>
                    <a:cubicBezTo>
                      <a:pt x="49" y="16"/>
                      <a:pt x="47" y="24"/>
                      <a:pt x="43" y="30"/>
                    </a:cubicBezTo>
                    <a:cubicBezTo>
                      <a:pt x="39" y="37"/>
                      <a:pt x="34" y="43"/>
                      <a:pt x="27" y="47"/>
                    </a:cubicBezTo>
                    <a:cubicBezTo>
                      <a:pt x="27" y="47"/>
                      <a:pt x="27" y="47"/>
                      <a:pt x="27" y="47"/>
                    </a:cubicBezTo>
                    <a:cubicBezTo>
                      <a:pt x="26" y="48"/>
                      <a:pt x="25" y="48"/>
                      <a:pt x="24" y="47"/>
                    </a:cubicBezTo>
                    <a:close/>
                  </a:path>
                </a:pathLst>
              </a:custGeom>
              <a:solidFill>
                <a:srgbClr val="3F96C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5" name="Freeform 56"/>
              <p:cNvSpPr>
                <a:spLocks/>
              </p:cNvSpPr>
              <p:nvPr/>
            </p:nvSpPr>
            <p:spPr bwMode="auto">
              <a:xfrm>
                <a:off x="13676313" y="2487613"/>
                <a:ext cx="492125" cy="349250"/>
              </a:xfrm>
              <a:custGeom>
                <a:avLst/>
                <a:gdLst>
                  <a:gd name="T0" fmla="*/ 125 w 131"/>
                  <a:gd name="T1" fmla="*/ 48 h 93"/>
                  <a:gd name="T2" fmla="*/ 114 w 131"/>
                  <a:gd name="T3" fmla="*/ 40 h 93"/>
                  <a:gd name="T4" fmla="*/ 101 w 131"/>
                  <a:gd name="T5" fmla="*/ 13 h 93"/>
                  <a:gd name="T6" fmla="*/ 69 w 131"/>
                  <a:gd name="T7" fmla="*/ 0 h 93"/>
                  <a:gd name="T8" fmla="*/ 44 w 131"/>
                  <a:gd name="T9" fmla="*/ 7 h 93"/>
                  <a:gd name="T10" fmla="*/ 28 w 131"/>
                  <a:gd name="T11" fmla="*/ 23 h 93"/>
                  <a:gd name="T12" fmla="*/ 9 w 131"/>
                  <a:gd name="T13" fmla="*/ 34 h 93"/>
                  <a:gd name="T14" fmla="*/ 0 w 131"/>
                  <a:gd name="T15" fmla="*/ 58 h 93"/>
                  <a:gd name="T16" fmla="*/ 9 w 131"/>
                  <a:gd name="T17" fmla="*/ 82 h 93"/>
                  <a:gd name="T18" fmla="*/ 10 w 131"/>
                  <a:gd name="T19" fmla="*/ 83 h 93"/>
                  <a:gd name="T20" fmla="*/ 35 w 131"/>
                  <a:gd name="T21" fmla="*/ 93 h 93"/>
                  <a:gd name="T22" fmla="*/ 37 w 131"/>
                  <a:gd name="T23" fmla="*/ 93 h 93"/>
                  <a:gd name="T24" fmla="*/ 37 w 131"/>
                  <a:gd name="T25" fmla="*/ 93 h 93"/>
                  <a:gd name="T26" fmla="*/ 38 w 131"/>
                  <a:gd name="T27" fmla="*/ 91 h 93"/>
                  <a:gd name="T28" fmla="*/ 39 w 131"/>
                  <a:gd name="T29" fmla="*/ 89 h 93"/>
                  <a:gd name="T30" fmla="*/ 39 w 131"/>
                  <a:gd name="T31" fmla="*/ 89 h 93"/>
                  <a:gd name="T32" fmla="*/ 35 w 131"/>
                  <a:gd name="T33" fmla="*/ 89 h 93"/>
                  <a:gd name="T34" fmla="*/ 14 w 131"/>
                  <a:gd name="T35" fmla="*/ 80 h 93"/>
                  <a:gd name="T36" fmla="*/ 13 w 131"/>
                  <a:gd name="T37" fmla="*/ 80 h 93"/>
                  <a:gd name="T38" fmla="*/ 4 w 131"/>
                  <a:gd name="T39" fmla="*/ 58 h 93"/>
                  <a:gd name="T40" fmla="*/ 12 w 131"/>
                  <a:gd name="T41" fmla="*/ 37 h 93"/>
                  <a:gd name="T42" fmla="*/ 30 w 131"/>
                  <a:gd name="T43" fmla="*/ 28 h 93"/>
                  <a:gd name="T44" fmla="*/ 31 w 131"/>
                  <a:gd name="T45" fmla="*/ 27 h 93"/>
                  <a:gd name="T46" fmla="*/ 32 w 131"/>
                  <a:gd name="T47" fmla="*/ 26 h 93"/>
                  <a:gd name="T48" fmla="*/ 46 w 131"/>
                  <a:gd name="T49" fmla="*/ 11 h 93"/>
                  <a:gd name="T50" fmla="*/ 69 w 131"/>
                  <a:gd name="T51" fmla="*/ 4 h 93"/>
                  <a:gd name="T52" fmla="*/ 98 w 131"/>
                  <a:gd name="T53" fmla="*/ 16 h 93"/>
                  <a:gd name="T54" fmla="*/ 110 w 131"/>
                  <a:gd name="T55" fmla="*/ 42 h 93"/>
                  <a:gd name="T56" fmla="*/ 110 w 131"/>
                  <a:gd name="T57" fmla="*/ 43 h 93"/>
                  <a:gd name="T58" fmla="*/ 111 w 131"/>
                  <a:gd name="T59" fmla="*/ 44 h 93"/>
                  <a:gd name="T60" fmla="*/ 122 w 131"/>
                  <a:gd name="T61" fmla="*/ 51 h 93"/>
                  <a:gd name="T62" fmla="*/ 127 w 131"/>
                  <a:gd name="T63" fmla="*/ 66 h 93"/>
                  <a:gd name="T64" fmla="*/ 121 w 131"/>
                  <a:gd name="T65" fmla="*/ 81 h 93"/>
                  <a:gd name="T66" fmla="*/ 120 w 131"/>
                  <a:gd name="T67" fmla="*/ 82 h 93"/>
                  <a:gd name="T68" fmla="*/ 104 w 131"/>
                  <a:gd name="T69" fmla="*/ 89 h 93"/>
                  <a:gd name="T70" fmla="*/ 92 w 131"/>
                  <a:gd name="T71" fmla="*/ 89 h 93"/>
                  <a:gd name="T72" fmla="*/ 93 w 131"/>
                  <a:gd name="T73" fmla="*/ 91 h 93"/>
                  <a:gd name="T74" fmla="*/ 95 w 131"/>
                  <a:gd name="T75" fmla="*/ 93 h 93"/>
                  <a:gd name="T76" fmla="*/ 104 w 131"/>
                  <a:gd name="T77" fmla="*/ 93 h 93"/>
                  <a:gd name="T78" fmla="*/ 122 w 131"/>
                  <a:gd name="T79" fmla="*/ 86 h 93"/>
                  <a:gd name="T80" fmla="*/ 122 w 131"/>
                  <a:gd name="T81" fmla="*/ 86 h 93"/>
                  <a:gd name="T82" fmla="*/ 123 w 131"/>
                  <a:gd name="T83" fmla="*/ 85 h 93"/>
                  <a:gd name="T84" fmla="*/ 131 w 131"/>
                  <a:gd name="T85" fmla="*/ 66 h 93"/>
                  <a:gd name="T86" fmla="*/ 125 w 131"/>
                  <a:gd name="T87" fmla="*/ 48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1" h="93">
                    <a:moveTo>
                      <a:pt x="125" y="48"/>
                    </a:moveTo>
                    <a:cubicBezTo>
                      <a:pt x="122" y="44"/>
                      <a:pt x="118" y="42"/>
                      <a:pt x="114" y="40"/>
                    </a:cubicBezTo>
                    <a:cubicBezTo>
                      <a:pt x="113" y="30"/>
                      <a:pt x="108" y="20"/>
                      <a:pt x="101" y="13"/>
                    </a:cubicBezTo>
                    <a:cubicBezTo>
                      <a:pt x="92" y="4"/>
                      <a:pt x="81" y="0"/>
                      <a:pt x="69" y="0"/>
                    </a:cubicBezTo>
                    <a:cubicBezTo>
                      <a:pt x="60" y="0"/>
                      <a:pt x="51" y="2"/>
                      <a:pt x="44" y="7"/>
                    </a:cubicBezTo>
                    <a:cubicBezTo>
                      <a:pt x="37" y="11"/>
                      <a:pt x="32" y="17"/>
                      <a:pt x="28" y="23"/>
                    </a:cubicBezTo>
                    <a:cubicBezTo>
                      <a:pt x="21" y="25"/>
                      <a:pt x="14" y="28"/>
                      <a:pt x="9" y="34"/>
                    </a:cubicBezTo>
                    <a:cubicBezTo>
                      <a:pt x="3" y="40"/>
                      <a:pt x="0" y="49"/>
                      <a:pt x="0" y="58"/>
                    </a:cubicBezTo>
                    <a:cubicBezTo>
                      <a:pt x="0" y="67"/>
                      <a:pt x="3" y="76"/>
                      <a:pt x="9" y="82"/>
                    </a:cubicBezTo>
                    <a:cubicBezTo>
                      <a:pt x="10" y="83"/>
                      <a:pt x="10" y="83"/>
                      <a:pt x="10" y="83"/>
                    </a:cubicBezTo>
                    <a:cubicBezTo>
                      <a:pt x="17" y="90"/>
                      <a:pt x="25" y="93"/>
                      <a:pt x="35" y="93"/>
                    </a:cubicBezTo>
                    <a:cubicBezTo>
                      <a:pt x="37" y="93"/>
                      <a:pt x="37" y="93"/>
                      <a:pt x="37" y="93"/>
                    </a:cubicBezTo>
                    <a:cubicBezTo>
                      <a:pt x="37" y="93"/>
                      <a:pt x="37" y="93"/>
                      <a:pt x="37" y="93"/>
                    </a:cubicBezTo>
                    <a:cubicBezTo>
                      <a:pt x="38" y="91"/>
                      <a:pt x="38" y="91"/>
                      <a:pt x="38" y="91"/>
                    </a:cubicBezTo>
                    <a:cubicBezTo>
                      <a:pt x="39" y="89"/>
                      <a:pt x="39" y="89"/>
                      <a:pt x="39" y="89"/>
                    </a:cubicBezTo>
                    <a:cubicBezTo>
                      <a:pt x="39" y="89"/>
                      <a:pt x="39" y="89"/>
                      <a:pt x="39" y="89"/>
                    </a:cubicBezTo>
                    <a:cubicBezTo>
                      <a:pt x="35" y="89"/>
                      <a:pt x="35" y="89"/>
                      <a:pt x="35" y="89"/>
                    </a:cubicBezTo>
                    <a:cubicBezTo>
                      <a:pt x="27" y="89"/>
                      <a:pt x="19" y="86"/>
                      <a:pt x="14" y="80"/>
                    </a:cubicBezTo>
                    <a:cubicBezTo>
                      <a:pt x="13" y="80"/>
                      <a:pt x="13" y="80"/>
                      <a:pt x="13" y="80"/>
                    </a:cubicBezTo>
                    <a:cubicBezTo>
                      <a:pt x="7" y="74"/>
                      <a:pt x="4" y="66"/>
                      <a:pt x="4" y="58"/>
                    </a:cubicBezTo>
                    <a:cubicBezTo>
                      <a:pt x="4" y="50"/>
                      <a:pt x="7" y="43"/>
                      <a:pt x="12" y="37"/>
                    </a:cubicBezTo>
                    <a:cubicBezTo>
                      <a:pt x="17" y="32"/>
                      <a:pt x="23" y="29"/>
                      <a:pt x="30" y="28"/>
                    </a:cubicBezTo>
                    <a:cubicBezTo>
                      <a:pt x="31" y="27"/>
                      <a:pt x="31" y="27"/>
                      <a:pt x="31" y="27"/>
                    </a:cubicBezTo>
                    <a:cubicBezTo>
                      <a:pt x="32" y="26"/>
                      <a:pt x="32" y="26"/>
                      <a:pt x="32" y="26"/>
                    </a:cubicBezTo>
                    <a:cubicBezTo>
                      <a:pt x="35" y="20"/>
                      <a:pt x="40" y="15"/>
                      <a:pt x="46" y="11"/>
                    </a:cubicBezTo>
                    <a:cubicBezTo>
                      <a:pt x="53" y="6"/>
                      <a:pt x="61" y="4"/>
                      <a:pt x="69" y="4"/>
                    </a:cubicBezTo>
                    <a:cubicBezTo>
                      <a:pt x="80" y="4"/>
                      <a:pt x="90" y="8"/>
                      <a:pt x="98" y="16"/>
                    </a:cubicBezTo>
                    <a:cubicBezTo>
                      <a:pt x="105" y="23"/>
                      <a:pt x="109" y="32"/>
                      <a:pt x="110" y="42"/>
                    </a:cubicBezTo>
                    <a:cubicBezTo>
                      <a:pt x="110" y="43"/>
                      <a:pt x="110" y="43"/>
                      <a:pt x="110" y="43"/>
                    </a:cubicBezTo>
                    <a:cubicBezTo>
                      <a:pt x="111" y="44"/>
                      <a:pt x="111" y="44"/>
                      <a:pt x="111" y="44"/>
                    </a:cubicBezTo>
                    <a:cubicBezTo>
                      <a:pt x="115" y="45"/>
                      <a:pt x="119" y="47"/>
                      <a:pt x="122" y="51"/>
                    </a:cubicBezTo>
                    <a:cubicBezTo>
                      <a:pt x="125" y="55"/>
                      <a:pt x="127" y="60"/>
                      <a:pt x="127" y="66"/>
                    </a:cubicBezTo>
                    <a:cubicBezTo>
                      <a:pt x="127" y="71"/>
                      <a:pt x="125" y="77"/>
                      <a:pt x="121" y="81"/>
                    </a:cubicBezTo>
                    <a:cubicBezTo>
                      <a:pt x="120" y="82"/>
                      <a:pt x="120" y="82"/>
                      <a:pt x="120" y="82"/>
                    </a:cubicBezTo>
                    <a:cubicBezTo>
                      <a:pt x="116" y="86"/>
                      <a:pt x="110" y="89"/>
                      <a:pt x="104" y="89"/>
                    </a:cubicBezTo>
                    <a:cubicBezTo>
                      <a:pt x="92" y="89"/>
                      <a:pt x="92" y="89"/>
                      <a:pt x="92" y="89"/>
                    </a:cubicBezTo>
                    <a:cubicBezTo>
                      <a:pt x="93" y="91"/>
                      <a:pt x="93" y="91"/>
                      <a:pt x="93" y="91"/>
                    </a:cubicBezTo>
                    <a:cubicBezTo>
                      <a:pt x="95" y="93"/>
                      <a:pt x="95" y="93"/>
                      <a:pt x="95" y="93"/>
                    </a:cubicBezTo>
                    <a:cubicBezTo>
                      <a:pt x="104" y="93"/>
                      <a:pt x="104" y="93"/>
                      <a:pt x="104" y="93"/>
                    </a:cubicBezTo>
                    <a:cubicBezTo>
                      <a:pt x="111" y="93"/>
                      <a:pt x="117" y="91"/>
                      <a:pt x="122" y="86"/>
                    </a:cubicBezTo>
                    <a:cubicBezTo>
                      <a:pt x="122" y="86"/>
                      <a:pt x="122" y="86"/>
                      <a:pt x="122" y="86"/>
                    </a:cubicBezTo>
                    <a:cubicBezTo>
                      <a:pt x="123" y="85"/>
                      <a:pt x="123" y="85"/>
                      <a:pt x="123" y="85"/>
                    </a:cubicBezTo>
                    <a:cubicBezTo>
                      <a:pt x="129" y="80"/>
                      <a:pt x="131" y="73"/>
                      <a:pt x="131" y="66"/>
                    </a:cubicBezTo>
                    <a:cubicBezTo>
                      <a:pt x="131" y="59"/>
                      <a:pt x="129" y="53"/>
                      <a:pt x="125" y="48"/>
                    </a:cubicBezTo>
                    <a:close/>
                  </a:path>
                </a:pathLst>
              </a:custGeom>
              <a:solidFill>
                <a:srgbClr val="3F96C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123" name="Gruppieren 122"/>
            <p:cNvGrpSpPr/>
            <p:nvPr/>
          </p:nvGrpSpPr>
          <p:grpSpPr>
            <a:xfrm>
              <a:off x="5217705" y="5494512"/>
              <a:ext cx="836690" cy="595337"/>
              <a:chOff x="15349538" y="2589213"/>
              <a:chExt cx="495300" cy="352425"/>
            </a:xfrm>
          </p:grpSpPr>
          <p:sp>
            <p:nvSpPr>
              <p:cNvPr id="75" name="Freeform 21"/>
              <p:cNvSpPr>
                <a:spLocks/>
              </p:cNvSpPr>
              <p:nvPr/>
            </p:nvSpPr>
            <p:spPr bwMode="auto">
              <a:xfrm>
                <a:off x="15605125" y="2776538"/>
                <a:ext cx="69850" cy="79375"/>
              </a:xfrm>
              <a:custGeom>
                <a:avLst/>
                <a:gdLst>
                  <a:gd name="T0" fmla="*/ 19 w 19"/>
                  <a:gd name="T1" fmla="*/ 14 h 21"/>
                  <a:gd name="T2" fmla="*/ 18 w 19"/>
                  <a:gd name="T3" fmla="*/ 12 h 21"/>
                  <a:gd name="T4" fmla="*/ 14 w 19"/>
                  <a:gd name="T5" fmla="*/ 10 h 21"/>
                  <a:gd name="T6" fmla="*/ 18 w 19"/>
                  <a:gd name="T7" fmla="*/ 8 h 21"/>
                  <a:gd name="T8" fmla="*/ 19 w 19"/>
                  <a:gd name="T9" fmla="*/ 6 h 21"/>
                  <a:gd name="T10" fmla="*/ 19 w 19"/>
                  <a:gd name="T11" fmla="*/ 5 h 21"/>
                  <a:gd name="T12" fmla="*/ 17 w 19"/>
                  <a:gd name="T13" fmla="*/ 4 h 21"/>
                  <a:gd name="T14" fmla="*/ 12 w 19"/>
                  <a:gd name="T15" fmla="*/ 6 h 21"/>
                  <a:gd name="T16" fmla="*/ 12 w 19"/>
                  <a:gd name="T17" fmla="*/ 2 h 21"/>
                  <a:gd name="T18" fmla="*/ 10 w 19"/>
                  <a:gd name="T19" fmla="*/ 0 h 21"/>
                  <a:gd name="T20" fmla="*/ 8 w 19"/>
                  <a:gd name="T21" fmla="*/ 2 h 21"/>
                  <a:gd name="T22" fmla="*/ 8 w 19"/>
                  <a:gd name="T23" fmla="*/ 6 h 21"/>
                  <a:gd name="T24" fmla="*/ 4 w 19"/>
                  <a:gd name="T25" fmla="*/ 4 h 21"/>
                  <a:gd name="T26" fmla="*/ 3 w 19"/>
                  <a:gd name="T27" fmla="*/ 4 h 21"/>
                  <a:gd name="T28" fmla="*/ 1 w 19"/>
                  <a:gd name="T29" fmla="*/ 5 h 21"/>
                  <a:gd name="T30" fmla="*/ 0 w 19"/>
                  <a:gd name="T31" fmla="*/ 6 h 21"/>
                  <a:gd name="T32" fmla="*/ 1 w 19"/>
                  <a:gd name="T33" fmla="*/ 8 h 21"/>
                  <a:gd name="T34" fmla="*/ 5 w 19"/>
                  <a:gd name="T35" fmla="*/ 10 h 21"/>
                  <a:gd name="T36" fmla="*/ 1 w 19"/>
                  <a:gd name="T37" fmla="*/ 12 h 21"/>
                  <a:gd name="T38" fmla="*/ 0 w 19"/>
                  <a:gd name="T39" fmla="*/ 14 h 21"/>
                  <a:gd name="T40" fmla="*/ 1 w 19"/>
                  <a:gd name="T41" fmla="*/ 15 h 21"/>
                  <a:gd name="T42" fmla="*/ 3 w 19"/>
                  <a:gd name="T43" fmla="*/ 16 h 21"/>
                  <a:gd name="T44" fmla="*/ 8 w 19"/>
                  <a:gd name="T45" fmla="*/ 14 h 21"/>
                  <a:gd name="T46" fmla="*/ 8 w 19"/>
                  <a:gd name="T47" fmla="*/ 18 h 21"/>
                  <a:gd name="T48" fmla="*/ 10 w 19"/>
                  <a:gd name="T49" fmla="*/ 21 h 21"/>
                  <a:gd name="T50" fmla="*/ 12 w 19"/>
                  <a:gd name="T51" fmla="*/ 18 h 21"/>
                  <a:gd name="T52" fmla="*/ 12 w 19"/>
                  <a:gd name="T53" fmla="*/ 14 h 21"/>
                  <a:gd name="T54" fmla="*/ 16 w 19"/>
                  <a:gd name="T55" fmla="*/ 16 h 21"/>
                  <a:gd name="T56" fmla="*/ 17 w 19"/>
                  <a:gd name="T57" fmla="*/ 16 h 21"/>
                  <a:gd name="T58" fmla="*/ 19 w 19"/>
                  <a:gd name="T59" fmla="*/ 15 h 21"/>
                  <a:gd name="T60" fmla="*/ 19 w 19"/>
                  <a:gd name="T61" fmla="*/ 14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" h="21">
                    <a:moveTo>
                      <a:pt x="19" y="14"/>
                    </a:moveTo>
                    <a:cubicBezTo>
                      <a:pt x="19" y="13"/>
                      <a:pt x="19" y="13"/>
                      <a:pt x="18" y="12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9" y="7"/>
                      <a:pt x="19" y="7"/>
                      <a:pt x="19" y="6"/>
                    </a:cubicBezTo>
                    <a:cubicBezTo>
                      <a:pt x="19" y="6"/>
                      <a:pt x="19" y="5"/>
                      <a:pt x="19" y="5"/>
                    </a:cubicBezTo>
                    <a:cubicBezTo>
                      <a:pt x="19" y="4"/>
                      <a:pt x="18" y="4"/>
                      <a:pt x="17" y="4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0"/>
                      <a:pt x="11" y="0"/>
                      <a:pt x="10" y="0"/>
                    </a:cubicBezTo>
                    <a:cubicBezTo>
                      <a:pt x="9" y="0"/>
                      <a:pt x="8" y="0"/>
                      <a:pt x="8" y="2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4"/>
                      <a:pt x="1" y="4"/>
                      <a:pt x="1" y="5"/>
                    </a:cubicBezTo>
                    <a:cubicBezTo>
                      <a:pt x="0" y="5"/>
                      <a:pt x="0" y="6"/>
                      <a:pt x="0" y="6"/>
                    </a:cubicBezTo>
                    <a:cubicBezTo>
                      <a:pt x="1" y="7"/>
                      <a:pt x="1" y="7"/>
                      <a:pt x="1" y="8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3"/>
                      <a:pt x="1" y="13"/>
                      <a:pt x="0" y="14"/>
                    </a:cubicBezTo>
                    <a:cubicBezTo>
                      <a:pt x="0" y="14"/>
                      <a:pt x="0" y="15"/>
                      <a:pt x="1" y="15"/>
                    </a:cubicBezTo>
                    <a:cubicBezTo>
                      <a:pt x="1" y="16"/>
                      <a:pt x="2" y="16"/>
                      <a:pt x="3" y="16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20"/>
                      <a:pt x="9" y="21"/>
                      <a:pt x="10" y="21"/>
                    </a:cubicBezTo>
                    <a:cubicBezTo>
                      <a:pt x="11" y="21"/>
                      <a:pt x="12" y="20"/>
                      <a:pt x="12" y="18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18" y="16"/>
                      <a:pt x="19" y="16"/>
                      <a:pt x="19" y="15"/>
                    </a:cubicBezTo>
                    <a:cubicBezTo>
                      <a:pt x="19" y="15"/>
                      <a:pt x="19" y="14"/>
                      <a:pt x="19" y="14"/>
                    </a:cubicBezTo>
                    <a:close/>
                  </a:path>
                </a:pathLst>
              </a:custGeom>
              <a:solidFill>
                <a:srgbClr val="3F96C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6" name="Freeform 22"/>
              <p:cNvSpPr>
                <a:spLocks/>
              </p:cNvSpPr>
              <p:nvPr/>
            </p:nvSpPr>
            <p:spPr bwMode="auto">
              <a:xfrm>
                <a:off x="15698788" y="2776538"/>
                <a:ext cx="69850" cy="79375"/>
              </a:xfrm>
              <a:custGeom>
                <a:avLst/>
                <a:gdLst>
                  <a:gd name="T0" fmla="*/ 19 w 19"/>
                  <a:gd name="T1" fmla="*/ 14 h 21"/>
                  <a:gd name="T2" fmla="*/ 18 w 19"/>
                  <a:gd name="T3" fmla="*/ 12 h 21"/>
                  <a:gd name="T4" fmla="*/ 14 w 19"/>
                  <a:gd name="T5" fmla="*/ 10 h 21"/>
                  <a:gd name="T6" fmla="*/ 18 w 19"/>
                  <a:gd name="T7" fmla="*/ 8 h 21"/>
                  <a:gd name="T8" fmla="*/ 19 w 19"/>
                  <a:gd name="T9" fmla="*/ 6 h 21"/>
                  <a:gd name="T10" fmla="*/ 18 w 19"/>
                  <a:gd name="T11" fmla="*/ 5 h 21"/>
                  <a:gd name="T12" fmla="*/ 16 w 19"/>
                  <a:gd name="T13" fmla="*/ 4 h 21"/>
                  <a:gd name="T14" fmla="*/ 11 w 19"/>
                  <a:gd name="T15" fmla="*/ 6 h 21"/>
                  <a:gd name="T16" fmla="*/ 11 w 19"/>
                  <a:gd name="T17" fmla="*/ 2 h 21"/>
                  <a:gd name="T18" fmla="*/ 9 w 19"/>
                  <a:gd name="T19" fmla="*/ 0 h 21"/>
                  <a:gd name="T20" fmla="*/ 7 w 19"/>
                  <a:gd name="T21" fmla="*/ 2 h 21"/>
                  <a:gd name="T22" fmla="*/ 7 w 19"/>
                  <a:gd name="T23" fmla="*/ 6 h 21"/>
                  <a:gd name="T24" fmla="*/ 3 w 19"/>
                  <a:gd name="T25" fmla="*/ 4 h 21"/>
                  <a:gd name="T26" fmla="*/ 2 w 19"/>
                  <a:gd name="T27" fmla="*/ 4 h 21"/>
                  <a:gd name="T28" fmla="*/ 0 w 19"/>
                  <a:gd name="T29" fmla="*/ 5 h 21"/>
                  <a:gd name="T30" fmla="*/ 0 w 19"/>
                  <a:gd name="T31" fmla="*/ 6 h 21"/>
                  <a:gd name="T32" fmla="*/ 1 w 19"/>
                  <a:gd name="T33" fmla="*/ 8 h 21"/>
                  <a:gd name="T34" fmla="*/ 5 w 19"/>
                  <a:gd name="T35" fmla="*/ 10 h 21"/>
                  <a:gd name="T36" fmla="*/ 1 w 19"/>
                  <a:gd name="T37" fmla="*/ 12 h 21"/>
                  <a:gd name="T38" fmla="*/ 0 w 19"/>
                  <a:gd name="T39" fmla="*/ 14 h 21"/>
                  <a:gd name="T40" fmla="*/ 0 w 19"/>
                  <a:gd name="T41" fmla="*/ 15 h 21"/>
                  <a:gd name="T42" fmla="*/ 2 w 19"/>
                  <a:gd name="T43" fmla="*/ 16 h 21"/>
                  <a:gd name="T44" fmla="*/ 7 w 19"/>
                  <a:gd name="T45" fmla="*/ 14 h 21"/>
                  <a:gd name="T46" fmla="*/ 7 w 19"/>
                  <a:gd name="T47" fmla="*/ 18 h 21"/>
                  <a:gd name="T48" fmla="*/ 9 w 19"/>
                  <a:gd name="T49" fmla="*/ 21 h 21"/>
                  <a:gd name="T50" fmla="*/ 11 w 19"/>
                  <a:gd name="T51" fmla="*/ 18 h 21"/>
                  <a:gd name="T52" fmla="*/ 11 w 19"/>
                  <a:gd name="T53" fmla="*/ 14 h 21"/>
                  <a:gd name="T54" fmla="*/ 15 w 19"/>
                  <a:gd name="T55" fmla="*/ 16 h 21"/>
                  <a:gd name="T56" fmla="*/ 16 w 19"/>
                  <a:gd name="T57" fmla="*/ 16 h 21"/>
                  <a:gd name="T58" fmla="*/ 18 w 19"/>
                  <a:gd name="T59" fmla="*/ 15 h 21"/>
                  <a:gd name="T60" fmla="*/ 19 w 19"/>
                  <a:gd name="T61" fmla="*/ 14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" h="21">
                    <a:moveTo>
                      <a:pt x="19" y="14"/>
                    </a:moveTo>
                    <a:cubicBezTo>
                      <a:pt x="18" y="13"/>
                      <a:pt x="18" y="13"/>
                      <a:pt x="18" y="12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8" y="7"/>
                      <a:pt x="18" y="7"/>
                      <a:pt x="19" y="6"/>
                    </a:cubicBezTo>
                    <a:cubicBezTo>
                      <a:pt x="19" y="6"/>
                      <a:pt x="19" y="5"/>
                      <a:pt x="18" y="5"/>
                    </a:cubicBezTo>
                    <a:cubicBezTo>
                      <a:pt x="18" y="4"/>
                      <a:pt x="17" y="4"/>
                      <a:pt x="16" y="4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0"/>
                      <a:pt x="10" y="0"/>
                      <a:pt x="9" y="0"/>
                    </a:cubicBezTo>
                    <a:cubicBezTo>
                      <a:pt x="8" y="0"/>
                      <a:pt x="7" y="0"/>
                      <a:pt x="7" y="2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4"/>
                      <a:pt x="0" y="5"/>
                    </a:cubicBezTo>
                    <a:cubicBezTo>
                      <a:pt x="0" y="5"/>
                      <a:pt x="0" y="6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3"/>
                      <a:pt x="0" y="13"/>
                      <a:pt x="0" y="14"/>
                    </a:cubicBezTo>
                    <a:cubicBezTo>
                      <a:pt x="0" y="14"/>
                      <a:pt x="0" y="15"/>
                      <a:pt x="0" y="15"/>
                    </a:cubicBezTo>
                    <a:cubicBezTo>
                      <a:pt x="0" y="16"/>
                      <a:pt x="1" y="16"/>
                      <a:pt x="2" y="16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20"/>
                      <a:pt x="8" y="21"/>
                      <a:pt x="9" y="21"/>
                    </a:cubicBezTo>
                    <a:cubicBezTo>
                      <a:pt x="10" y="21"/>
                      <a:pt x="11" y="20"/>
                      <a:pt x="11" y="18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8" y="16"/>
                      <a:pt x="18" y="16"/>
                      <a:pt x="18" y="15"/>
                    </a:cubicBezTo>
                    <a:cubicBezTo>
                      <a:pt x="19" y="15"/>
                      <a:pt x="19" y="14"/>
                      <a:pt x="19" y="14"/>
                    </a:cubicBezTo>
                    <a:close/>
                  </a:path>
                </a:pathLst>
              </a:custGeom>
              <a:solidFill>
                <a:srgbClr val="3F96C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7" name="Freeform 23"/>
              <p:cNvSpPr>
                <a:spLocks/>
              </p:cNvSpPr>
              <p:nvPr/>
            </p:nvSpPr>
            <p:spPr bwMode="auto">
              <a:xfrm>
                <a:off x="15420975" y="2776538"/>
                <a:ext cx="74613" cy="79375"/>
              </a:xfrm>
              <a:custGeom>
                <a:avLst/>
                <a:gdLst>
                  <a:gd name="T0" fmla="*/ 19 w 20"/>
                  <a:gd name="T1" fmla="*/ 12 h 21"/>
                  <a:gd name="T2" fmla="*/ 15 w 20"/>
                  <a:gd name="T3" fmla="*/ 10 h 21"/>
                  <a:gd name="T4" fmla="*/ 19 w 20"/>
                  <a:gd name="T5" fmla="*/ 8 h 21"/>
                  <a:gd name="T6" fmla="*/ 20 w 20"/>
                  <a:gd name="T7" fmla="*/ 6 h 21"/>
                  <a:gd name="T8" fmla="*/ 19 w 20"/>
                  <a:gd name="T9" fmla="*/ 5 h 21"/>
                  <a:gd name="T10" fmla="*/ 17 w 20"/>
                  <a:gd name="T11" fmla="*/ 4 h 21"/>
                  <a:gd name="T12" fmla="*/ 12 w 20"/>
                  <a:gd name="T13" fmla="*/ 6 h 21"/>
                  <a:gd name="T14" fmla="*/ 12 w 20"/>
                  <a:gd name="T15" fmla="*/ 2 h 21"/>
                  <a:gd name="T16" fmla="*/ 10 w 20"/>
                  <a:gd name="T17" fmla="*/ 0 h 21"/>
                  <a:gd name="T18" fmla="*/ 8 w 20"/>
                  <a:gd name="T19" fmla="*/ 2 h 21"/>
                  <a:gd name="T20" fmla="*/ 8 w 20"/>
                  <a:gd name="T21" fmla="*/ 6 h 21"/>
                  <a:gd name="T22" fmla="*/ 4 w 20"/>
                  <a:gd name="T23" fmla="*/ 4 h 21"/>
                  <a:gd name="T24" fmla="*/ 3 w 20"/>
                  <a:gd name="T25" fmla="*/ 4 h 21"/>
                  <a:gd name="T26" fmla="*/ 1 w 20"/>
                  <a:gd name="T27" fmla="*/ 5 h 21"/>
                  <a:gd name="T28" fmla="*/ 2 w 20"/>
                  <a:gd name="T29" fmla="*/ 8 h 21"/>
                  <a:gd name="T30" fmla="*/ 6 w 20"/>
                  <a:gd name="T31" fmla="*/ 10 h 21"/>
                  <a:gd name="T32" fmla="*/ 2 w 20"/>
                  <a:gd name="T33" fmla="*/ 12 h 21"/>
                  <a:gd name="T34" fmla="*/ 1 w 20"/>
                  <a:gd name="T35" fmla="*/ 15 h 21"/>
                  <a:gd name="T36" fmla="*/ 3 w 20"/>
                  <a:gd name="T37" fmla="*/ 16 h 21"/>
                  <a:gd name="T38" fmla="*/ 8 w 20"/>
                  <a:gd name="T39" fmla="*/ 14 h 21"/>
                  <a:gd name="T40" fmla="*/ 8 w 20"/>
                  <a:gd name="T41" fmla="*/ 18 h 21"/>
                  <a:gd name="T42" fmla="*/ 10 w 20"/>
                  <a:gd name="T43" fmla="*/ 21 h 21"/>
                  <a:gd name="T44" fmla="*/ 12 w 20"/>
                  <a:gd name="T45" fmla="*/ 18 h 21"/>
                  <a:gd name="T46" fmla="*/ 12 w 20"/>
                  <a:gd name="T47" fmla="*/ 14 h 21"/>
                  <a:gd name="T48" fmla="*/ 16 w 20"/>
                  <a:gd name="T49" fmla="*/ 16 h 21"/>
                  <a:gd name="T50" fmla="*/ 17 w 20"/>
                  <a:gd name="T51" fmla="*/ 16 h 21"/>
                  <a:gd name="T52" fmla="*/ 19 w 20"/>
                  <a:gd name="T53" fmla="*/ 15 h 21"/>
                  <a:gd name="T54" fmla="*/ 20 w 20"/>
                  <a:gd name="T55" fmla="*/ 14 h 21"/>
                  <a:gd name="T56" fmla="*/ 19 w 20"/>
                  <a:gd name="T57" fmla="*/ 1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0" h="21">
                    <a:moveTo>
                      <a:pt x="19" y="12"/>
                    </a:moveTo>
                    <a:cubicBezTo>
                      <a:pt x="15" y="10"/>
                      <a:pt x="15" y="10"/>
                      <a:pt x="15" y="10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19" y="7"/>
                      <a:pt x="19" y="7"/>
                      <a:pt x="20" y="6"/>
                    </a:cubicBezTo>
                    <a:cubicBezTo>
                      <a:pt x="20" y="6"/>
                      <a:pt x="20" y="5"/>
                      <a:pt x="19" y="5"/>
                    </a:cubicBezTo>
                    <a:cubicBezTo>
                      <a:pt x="19" y="4"/>
                      <a:pt x="18" y="4"/>
                      <a:pt x="17" y="4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0"/>
                      <a:pt x="11" y="0"/>
                      <a:pt x="10" y="0"/>
                    </a:cubicBezTo>
                    <a:cubicBezTo>
                      <a:pt x="9" y="0"/>
                      <a:pt x="8" y="0"/>
                      <a:pt x="8" y="2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2" y="4"/>
                      <a:pt x="1" y="4"/>
                      <a:pt x="1" y="5"/>
                    </a:cubicBezTo>
                    <a:cubicBezTo>
                      <a:pt x="0" y="6"/>
                      <a:pt x="1" y="7"/>
                      <a:pt x="2" y="8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1" y="13"/>
                      <a:pt x="0" y="14"/>
                      <a:pt x="1" y="15"/>
                    </a:cubicBezTo>
                    <a:cubicBezTo>
                      <a:pt x="1" y="16"/>
                      <a:pt x="2" y="16"/>
                      <a:pt x="3" y="16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20"/>
                      <a:pt x="9" y="21"/>
                      <a:pt x="10" y="21"/>
                    </a:cubicBezTo>
                    <a:cubicBezTo>
                      <a:pt x="11" y="21"/>
                      <a:pt x="12" y="20"/>
                      <a:pt x="12" y="18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19" y="16"/>
                      <a:pt x="19" y="16"/>
                      <a:pt x="19" y="15"/>
                    </a:cubicBezTo>
                    <a:cubicBezTo>
                      <a:pt x="20" y="15"/>
                      <a:pt x="20" y="14"/>
                      <a:pt x="20" y="14"/>
                    </a:cubicBezTo>
                    <a:cubicBezTo>
                      <a:pt x="19" y="13"/>
                      <a:pt x="19" y="13"/>
                      <a:pt x="19" y="12"/>
                    </a:cubicBezTo>
                    <a:close/>
                  </a:path>
                </a:pathLst>
              </a:custGeom>
              <a:solidFill>
                <a:srgbClr val="3F96C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8" name="Freeform 24"/>
              <p:cNvSpPr>
                <a:spLocks/>
              </p:cNvSpPr>
              <p:nvPr/>
            </p:nvSpPr>
            <p:spPr bwMode="auto">
              <a:xfrm>
                <a:off x="15514638" y="2776538"/>
                <a:ext cx="71438" cy="79375"/>
              </a:xfrm>
              <a:custGeom>
                <a:avLst/>
                <a:gdLst>
                  <a:gd name="T0" fmla="*/ 18 w 19"/>
                  <a:gd name="T1" fmla="*/ 12 h 21"/>
                  <a:gd name="T2" fmla="*/ 14 w 19"/>
                  <a:gd name="T3" fmla="*/ 10 h 21"/>
                  <a:gd name="T4" fmla="*/ 18 w 19"/>
                  <a:gd name="T5" fmla="*/ 8 h 21"/>
                  <a:gd name="T6" fmla="*/ 19 w 19"/>
                  <a:gd name="T7" fmla="*/ 6 h 21"/>
                  <a:gd name="T8" fmla="*/ 19 w 19"/>
                  <a:gd name="T9" fmla="*/ 5 h 21"/>
                  <a:gd name="T10" fmla="*/ 17 w 19"/>
                  <a:gd name="T11" fmla="*/ 4 h 21"/>
                  <a:gd name="T12" fmla="*/ 12 w 19"/>
                  <a:gd name="T13" fmla="*/ 6 h 21"/>
                  <a:gd name="T14" fmla="*/ 12 w 19"/>
                  <a:gd name="T15" fmla="*/ 2 h 21"/>
                  <a:gd name="T16" fmla="*/ 9 w 19"/>
                  <a:gd name="T17" fmla="*/ 0 h 21"/>
                  <a:gd name="T18" fmla="*/ 7 w 19"/>
                  <a:gd name="T19" fmla="*/ 2 h 21"/>
                  <a:gd name="T20" fmla="*/ 7 w 19"/>
                  <a:gd name="T21" fmla="*/ 6 h 21"/>
                  <a:gd name="T22" fmla="*/ 3 w 19"/>
                  <a:gd name="T23" fmla="*/ 4 h 21"/>
                  <a:gd name="T24" fmla="*/ 2 w 19"/>
                  <a:gd name="T25" fmla="*/ 4 h 21"/>
                  <a:gd name="T26" fmla="*/ 0 w 19"/>
                  <a:gd name="T27" fmla="*/ 5 h 21"/>
                  <a:gd name="T28" fmla="*/ 0 w 19"/>
                  <a:gd name="T29" fmla="*/ 6 h 21"/>
                  <a:gd name="T30" fmla="*/ 1 w 19"/>
                  <a:gd name="T31" fmla="*/ 8 h 21"/>
                  <a:gd name="T32" fmla="*/ 5 w 19"/>
                  <a:gd name="T33" fmla="*/ 10 h 21"/>
                  <a:gd name="T34" fmla="*/ 1 w 19"/>
                  <a:gd name="T35" fmla="*/ 12 h 21"/>
                  <a:gd name="T36" fmla="*/ 0 w 19"/>
                  <a:gd name="T37" fmla="*/ 14 h 21"/>
                  <a:gd name="T38" fmla="*/ 0 w 19"/>
                  <a:gd name="T39" fmla="*/ 15 h 21"/>
                  <a:gd name="T40" fmla="*/ 2 w 19"/>
                  <a:gd name="T41" fmla="*/ 16 h 21"/>
                  <a:gd name="T42" fmla="*/ 7 w 19"/>
                  <a:gd name="T43" fmla="*/ 14 h 21"/>
                  <a:gd name="T44" fmla="*/ 7 w 19"/>
                  <a:gd name="T45" fmla="*/ 18 h 21"/>
                  <a:gd name="T46" fmla="*/ 9 w 19"/>
                  <a:gd name="T47" fmla="*/ 21 h 21"/>
                  <a:gd name="T48" fmla="*/ 12 w 19"/>
                  <a:gd name="T49" fmla="*/ 18 h 21"/>
                  <a:gd name="T50" fmla="*/ 12 w 19"/>
                  <a:gd name="T51" fmla="*/ 14 h 21"/>
                  <a:gd name="T52" fmla="*/ 16 w 19"/>
                  <a:gd name="T53" fmla="*/ 16 h 21"/>
                  <a:gd name="T54" fmla="*/ 17 w 19"/>
                  <a:gd name="T55" fmla="*/ 16 h 21"/>
                  <a:gd name="T56" fmla="*/ 19 w 19"/>
                  <a:gd name="T57" fmla="*/ 15 h 21"/>
                  <a:gd name="T58" fmla="*/ 19 w 19"/>
                  <a:gd name="T59" fmla="*/ 14 h 21"/>
                  <a:gd name="T60" fmla="*/ 18 w 19"/>
                  <a:gd name="T61" fmla="*/ 1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" h="21">
                    <a:moveTo>
                      <a:pt x="18" y="12"/>
                    </a:moveTo>
                    <a:cubicBezTo>
                      <a:pt x="14" y="10"/>
                      <a:pt x="14" y="10"/>
                      <a:pt x="14" y="10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8" y="7"/>
                      <a:pt x="19" y="7"/>
                      <a:pt x="19" y="6"/>
                    </a:cubicBezTo>
                    <a:cubicBezTo>
                      <a:pt x="19" y="6"/>
                      <a:pt x="19" y="5"/>
                      <a:pt x="19" y="5"/>
                    </a:cubicBezTo>
                    <a:cubicBezTo>
                      <a:pt x="18" y="4"/>
                      <a:pt x="18" y="4"/>
                      <a:pt x="17" y="4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0"/>
                      <a:pt x="11" y="0"/>
                      <a:pt x="9" y="0"/>
                    </a:cubicBezTo>
                    <a:cubicBezTo>
                      <a:pt x="8" y="0"/>
                      <a:pt x="7" y="0"/>
                      <a:pt x="7" y="2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4"/>
                      <a:pt x="0" y="5"/>
                    </a:cubicBezTo>
                    <a:cubicBezTo>
                      <a:pt x="0" y="5"/>
                      <a:pt x="0" y="6"/>
                      <a:pt x="0" y="6"/>
                    </a:cubicBezTo>
                    <a:cubicBezTo>
                      <a:pt x="0" y="7"/>
                      <a:pt x="1" y="7"/>
                      <a:pt x="1" y="8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3"/>
                      <a:pt x="0" y="13"/>
                      <a:pt x="0" y="14"/>
                    </a:cubicBezTo>
                    <a:cubicBezTo>
                      <a:pt x="0" y="14"/>
                      <a:pt x="0" y="15"/>
                      <a:pt x="0" y="15"/>
                    </a:cubicBezTo>
                    <a:cubicBezTo>
                      <a:pt x="1" y="16"/>
                      <a:pt x="1" y="16"/>
                      <a:pt x="2" y="16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20"/>
                      <a:pt x="8" y="21"/>
                      <a:pt x="9" y="21"/>
                    </a:cubicBezTo>
                    <a:cubicBezTo>
                      <a:pt x="11" y="21"/>
                      <a:pt x="12" y="20"/>
                      <a:pt x="12" y="18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18" y="16"/>
                      <a:pt x="18" y="16"/>
                      <a:pt x="19" y="15"/>
                    </a:cubicBezTo>
                    <a:cubicBezTo>
                      <a:pt x="19" y="15"/>
                      <a:pt x="19" y="14"/>
                      <a:pt x="19" y="14"/>
                    </a:cubicBezTo>
                    <a:cubicBezTo>
                      <a:pt x="19" y="13"/>
                      <a:pt x="18" y="13"/>
                      <a:pt x="18" y="12"/>
                    </a:cubicBezTo>
                    <a:close/>
                  </a:path>
                </a:pathLst>
              </a:custGeom>
              <a:solidFill>
                <a:srgbClr val="3F96C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6" name="Freeform 57"/>
              <p:cNvSpPr>
                <a:spLocks noEditPoints="1"/>
              </p:cNvSpPr>
              <p:nvPr/>
            </p:nvSpPr>
            <p:spPr bwMode="auto">
              <a:xfrm>
                <a:off x="15349538" y="2589213"/>
                <a:ext cx="495300" cy="352425"/>
              </a:xfrm>
              <a:custGeom>
                <a:avLst/>
                <a:gdLst>
                  <a:gd name="T0" fmla="*/ 125 w 132"/>
                  <a:gd name="T1" fmla="*/ 48 h 94"/>
                  <a:gd name="T2" fmla="*/ 115 w 132"/>
                  <a:gd name="T3" fmla="*/ 40 h 94"/>
                  <a:gd name="T4" fmla="*/ 102 w 132"/>
                  <a:gd name="T5" fmla="*/ 13 h 94"/>
                  <a:gd name="T6" fmla="*/ 69 w 132"/>
                  <a:gd name="T7" fmla="*/ 0 h 94"/>
                  <a:gd name="T8" fmla="*/ 44 w 132"/>
                  <a:gd name="T9" fmla="*/ 8 h 94"/>
                  <a:gd name="T10" fmla="*/ 29 w 132"/>
                  <a:gd name="T11" fmla="*/ 24 h 94"/>
                  <a:gd name="T12" fmla="*/ 10 w 132"/>
                  <a:gd name="T13" fmla="*/ 34 h 94"/>
                  <a:gd name="T14" fmla="*/ 0 w 132"/>
                  <a:gd name="T15" fmla="*/ 59 h 94"/>
                  <a:gd name="T16" fmla="*/ 9 w 132"/>
                  <a:gd name="T17" fmla="*/ 82 h 94"/>
                  <a:gd name="T18" fmla="*/ 9 w 132"/>
                  <a:gd name="T19" fmla="*/ 82 h 94"/>
                  <a:gd name="T20" fmla="*/ 11 w 132"/>
                  <a:gd name="T21" fmla="*/ 83 h 94"/>
                  <a:gd name="T22" fmla="*/ 35 w 132"/>
                  <a:gd name="T23" fmla="*/ 94 h 94"/>
                  <a:gd name="T24" fmla="*/ 105 w 132"/>
                  <a:gd name="T25" fmla="*/ 94 h 94"/>
                  <a:gd name="T26" fmla="*/ 105 w 132"/>
                  <a:gd name="T27" fmla="*/ 94 h 94"/>
                  <a:gd name="T28" fmla="*/ 123 w 132"/>
                  <a:gd name="T29" fmla="*/ 87 h 94"/>
                  <a:gd name="T30" fmla="*/ 123 w 132"/>
                  <a:gd name="T31" fmla="*/ 87 h 94"/>
                  <a:gd name="T32" fmla="*/ 124 w 132"/>
                  <a:gd name="T33" fmla="*/ 86 h 94"/>
                  <a:gd name="T34" fmla="*/ 132 w 132"/>
                  <a:gd name="T35" fmla="*/ 66 h 94"/>
                  <a:gd name="T36" fmla="*/ 125 w 132"/>
                  <a:gd name="T37" fmla="*/ 48 h 94"/>
                  <a:gd name="T38" fmla="*/ 121 w 132"/>
                  <a:gd name="T39" fmla="*/ 82 h 94"/>
                  <a:gd name="T40" fmla="*/ 121 w 132"/>
                  <a:gd name="T41" fmla="*/ 82 h 94"/>
                  <a:gd name="T42" fmla="*/ 105 w 132"/>
                  <a:gd name="T43" fmla="*/ 89 h 94"/>
                  <a:gd name="T44" fmla="*/ 104 w 132"/>
                  <a:gd name="T45" fmla="*/ 89 h 94"/>
                  <a:gd name="T46" fmla="*/ 103 w 132"/>
                  <a:gd name="T47" fmla="*/ 89 h 94"/>
                  <a:gd name="T48" fmla="*/ 35 w 132"/>
                  <a:gd name="T49" fmla="*/ 89 h 94"/>
                  <a:gd name="T50" fmla="*/ 15 w 132"/>
                  <a:gd name="T51" fmla="*/ 81 h 94"/>
                  <a:gd name="T52" fmla="*/ 14 w 132"/>
                  <a:gd name="T53" fmla="*/ 80 h 94"/>
                  <a:gd name="T54" fmla="*/ 5 w 132"/>
                  <a:gd name="T55" fmla="*/ 59 h 94"/>
                  <a:gd name="T56" fmla="*/ 13 w 132"/>
                  <a:gd name="T57" fmla="*/ 37 h 94"/>
                  <a:gd name="T58" fmla="*/ 31 w 132"/>
                  <a:gd name="T59" fmla="*/ 28 h 94"/>
                  <a:gd name="T60" fmla="*/ 32 w 132"/>
                  <a:gd name="T61" fmla="*/ 28 h 94"/>
                  <a:gd name="T62" fmla="*/ 32 w 132"/>
                  <a:gd name="T63" fmla="*/ 27 h 94"/>
                  <a:gd name="T64" fmla="*/ 47 w 132"/>
                  <a:gd name="T65" fmla="*/ 11 h 94"/>
                  <a:gd name="T66" fmla="*/ 69 w 132"/>
                  <a:gd name="T67" fmla="*/ 4 h 94"/>
                  <a:gd name="T68" fmla="*/ 98 w 132"/>
                  <a:gd name="T69" fmla="*/ 17 h 94"/>
                  <a:gd name="T70" fmla="*/ 110 w 132"/>
                  <a:gd name="T71" fmla="*/ 42 h 94"/>
                  <a:gd name="T72" fmla="*/ 111 w 132"/>
                  <a:gd name="T73" fmla="*/ 44 h 94"/>
                  <a:gd name="T74" fmla="*/ 112 w 132"/>
                  <a:gd name="T75" fmla="*/ 44 h 94"/>
                  <a:gd name="T76" fmla="*/ 122 w 132"/>
                  <a:gd name="T77" fmla="*/ 51 h 94"/>
                  <a:gd name="T78" fmla="*/ 128 w 132"/>
                  <a:gd name="T79" fmla="*/ 66 h 94"/>
                  <a:gd name="T80" fmla="*/ 121 w 132"/>
                  <a:gd name="T81" fmla="*/ 8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32" h="94">
                    <a:moveTo>
                      <a:pt x="125" y="48"/>
                    </a:moveTo>
                    <a:cubicBezTo>
                      <a:pt x="123" y="45"/>
                      <a:pt x="119" y="42"/>
                      <a:pt x="115" y="40"/>
                    </a:cubicBezTo>
                    <a:cubicBezTo>
                      <a:pt x="113" y="30"/>
                      <a:pt x="109" y="21"/>
                      <a:pt x="102" y="13"/>
                    </a:cubicBezTo>
                    <a:cubicBezTo>
                      <a:pt x="93" y="5"/>
                      <a:pt x="81" y="0"/>
                      <a:pt x="69" y="0"/>
                    </a:cubicBezTo>
                    <a:cubicBezTo>
                      <a:pt x="60" y="0"/>
                      <a:pt x="52" y="3"/>
                      <a:pt x="44" y="8"/>
                    </a:cubicBezTo>
                    <a:cubicBezTo>
                      <a:pt x="38" y="12"/>
                      <a:pt x="33" y="17"/>
                      <a:pt x="29" y="24"/>
                    </a:cubicBezTo>
                    <a:cubicBezTo>
                      <a:pt x="22" y="25"/>
                      <a:pt x="15" y="29"/>
                      <a:pt x="10" y="34"/>
                    </a:cubicBezTo>
                    <a:cubicBezTo>
                      <a:pt x="4" y="41"/>
                      <a:pt x="0" y="50"/>
                      <a:pt x="0" y="59"/>
                    </a:cubicBezTo>
                    <a:cubicBezTo>
                      <a:pt x="0" y="67"/>
                      <a:pt x="3" y="75"/>
                      <a:pt x="9" y="82"/>
                    </a:cubicBezTo>
                    <a:cubicBezTo>
                      <a:pt x="9" y="82"/>
                      <a:pt x="9" y="82"/>
                      <a:pt x="9" y="82"/>
                    </a:cubicBezTo>
                    <a:cubicBezTo>
                      <a:pt x="11" y="83"/>
                      <a:pt x="11" y="83"/>
                      <a:pt x="11" y="83"/>
                    </a:cubicBezTo>
                    <a:cubicBezTo>
                      <a:pt x="17" y="90"/>
                      <a:pt x="26" y="94"/>
                      <a:pt x="35" y="94"/>
                    </a:cubicBezTo>
                    <a:cubicBezTo>
                      <a:pt x="105" y="94"/>
                      <a:pt x="105" y="94"/>
                      <a:pt x="105" y="94"/>
                    </a:cubicBezTo>
                    <a:cubicBezTo>
                      <a:pt x="105" y="94"/>
                      <a:pt x="105" y="94"/>
                      <a:pt x="105" y="94"/>
                    </a:cubicBezTo>
                    <a:cubicBezTo>
                      <a:pt x="111" y="94"/>
                      <a:pt x="118" y="91"/>
                      <a:pt x="123" y="87"/>
                    </a:cubicBezTo>
                    <a:cubicBezTo>
                      <a:pt x="123" y="87"/>
                      <a:pt x="123" y="87"/>
                      <a:pt x="123" y="87"/>
                    </a:cubicBezTo>
                    <a:cubicBezTo>
                      <a:pt x="124" y="86"/>
                      <a:pt x="124" y="86"/>
                      <a:pt x="124" y="86"/>
                    </a:cubicBezTo>
                    <a:cubicBezTo>
                      <a:pt x="129" y="80"/>
                      <a:pt x="132" y="73"/>
                      <a:pt x="132" y="66"/>
                    </a:cubicBezTo>
                    <a:cubicBezTo>
                      <a:pt x="132" y="60"/>
                      <a:pt x="130" y="53"/>
                      <a:pt x="125" y="48"/>
                    </a:cubicBezTo>
                    <a:close/>
                    <a:moveTo>
                      <a:pt x="121" y="82"/>
                    </a:moveTo>
                    <a:cubicBezTo>
                      <a:pt x="121" y="82"/>
                      <a:pt x="121" y="82"/>
                      <a:pt x="121" y="82"/>
                    </a:cubicBezTo>
                    <a:cubicBezTo>
                      <a:pt x="116" y="87"/>
                      <a:pt x="111" y="89"/>
                      <a:pt x="105" y="89"/>
                    </a:cubicBezTo>
                    <a:cubicBezTo>
                      <a:pt x="104" y="89"/>
                      <a:pt x="104" y="89"/>
                      <a:pt x="104" y="89"/>
                    </a:cubicBezTo>
                    <a:cubicBezTo>
                      <a:pt x="103" y="89"/>
                      <a:pt x="103" y="89"/>
                      <a:pt x="103" y="89"/>
                    </a:cubicBezTo>
                    <a:cubicBezTo>
                      <a:pt x="35" y="89"/>
                      <a:pt x="35" y="89"/>
                      <a:pt x="35" y="89"/>
                    </a:cubicBezTo>
                    <a:cubicBezTo>
                      <a:pt x="28" y="89"/>
                      <a:pt x="20" y="86"/>
                      <a:pt x="15" y="81"/>
                    </a:cubicBezTo>
                    <a:cubicBezTo>
                      <a:pt x="14" y="80"/>
                      <a:pt x="14" y="80"/>
                      <a:pt x="14" y="80"/>
                    </a:cubicBezTo>
                    <a:cubicBezTo>
                      <a:pt x="8" y="74"/>
                      <a:pt x="5" y="67"/>
                      <a:pt x="5" y="59"/>
                    </a:cubicBezTo>
                    <a:cubicBezTo>
                      <a:pt x="5" y="51"/>
                      <a:pt x="8" y="43"/>
                      <a:pt x="13" y="37"/>
                    </a:cubicBezTo>
                    <a:cubicBezTo>
                      <a:pt x="18" y="32"/>
                      <a:pt x="24" y="29"/>
                      <a:pt x="31" y="28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6" y="21"/>
                      <a:pt x="41" y="15"/>
                      <a:pt x="47" y="11"/>
                    </a:cubicBezTo>
                    <a:cubicBezTo>
                      <a:pt x="53" y="7"/>
                      <a:pt x="61" y="4"/>
                      <a:pt x="69" y="4"/>
                    </a:cubicBezTo>
                    <a:cubicBezTo>
                      <a:pt x="80" y="4"/>
                      <a:pt x="91" y="9"/>
                      <a:pt x="98" y="17"/>
                    </a:cubicBezTo>
                    <a:cubicBezTo>
                      <a:pt x="105" y="23"/>
                      <a:pt x="110" y="32"/>
                      <a:pt x="110" y="42"/>
                    </a:cubicBezTo>
                    <a:cubicBezTo>
                      <a:pt x="111" y="44"/>
                      <a:pt x="111" y="44"/>
                      <a:pt x="111" y="44"/>
                    </a:cubicBezTo>
                    <a:cubicBezTo>
                      <a:pt x="112" y="44"/>
                      <a:pt x="112" y="44"/>
                      <a:pt x="112" y="44"/>
                    </a:cubicBezTo>
                    <a:cubicBezTo>
                      <a:pt x="116" y="45"/>
                      <a:pt x="119" y="48"/>
                      <a:pt x="122" y="51"/>
                    </a:cubicBezTo>
                    <a:cubicBezTo>
                      <a:pt x="126" y="55"/>
                      <a:pt x="128" y="61"/>
                      <a:pt x="128" y="66"/>
                    </a:cubicBezTo>
                    <a:cubicBezTo>
                      <a:pt x="128" y="72"/>
                      <a:pt x="125" y="78"/>
                      <a:pt x="121" y="82"/>
                    </a:cubicBez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122" name="Gruppieren 121"/>
            <p:cNvGrpSpPr/>
            <p:nvPr/>
          </p:nvGrpSpPr>
          <p:grpSpPr>
            <a:xfrm>
              <a:off x="809297" y="2774571"/>
              <a:ext cx="774608" cy="638233"/>
              <a:chOff x="14504988" y="2570163"/>
              <a:chExt cx="450850" cy="371475"/>
            </a:xfrm>
          </p:grpSpPr>
          <p:sp>
            <p:nvSpPr>
              <p:cNvPr id="100" name="Oval 46"/>
              <p:cNvSpPr>
                <a:spLocks noChangeArrowheads="1"/>
              </p:cNvSpPr>
              <p:nvPr/>
            </p:nvSpPr>
            <p:spPr bwMode="auto">
              <a:xfrm>
                <a:off x="14760575" y="2840038"/>
                <a:ext cx="19050" cy="19050"/>
              </a:xfrm>
              <a:prstGeom prst="ellipse">
                <a:avLst/>
              </a:pr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1" name="Oval 47"/>
              <p:cNvSpPr>
                <a:spLocks noChangeArrowheads="1"/>
              </p:cNvSpPr>
              <p:nvPr/>
            </p:nvSpPr>
            <p:spPr bwMode="auto">
              <a:xfrm>
                <a:off x="14760575" y="2874963"/>
                <a:ext cx="19050" cy="19050"/>
              </a:xfrm>
              <a:prstGeom prst="ellipse">
                <a:avLst/>
              </a:pr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7" name="Freeform 48"/>
              <p:cNvSpPr>
                <a:spLocks noEditPoints="1"/>
              </p:cNvSpPr>
              <p:nvPr/>
            </p:nvSpPr>
            <p:spPr bwMode="auto">
              <a:xfrm>
                <a:off x="14674850" y="2754313"/>
                <a:ext cx="107950" cy="71438"/>
              </a:xfrm>
              <a:custGeom>
                <a:avLst/>
                <a:gdLst>
                  <a:gd name="T0" fmla="*/ 29 w 29"/>
                  <a:gd name="T1" fmla="*/ 6 h 19"/>
                  <a:gd name="T2" fmla="*/ 27 w 29"/>
                  <a:gd name="T3" fmla="*/ 2 h 19"/>
                  <a:gd name="T4" fmla="*/ 22 w 29"/>
                  <a:gd name="T5" fmla="*/ 0 h 19"/>
                  <a:gd name="T6" fmla="*/ 7 w 29"/>
                  <a:gd name="T7" fmla="*/ 0 h 19"/>
                  <a:gd name="T8" fmla="*/ 2 w 29"/>
                  <a:gd name="T9" fmla="*/ 2 h 19"/>
                  <a:gd name="T10" fmla="*/ 2 w 29"/>
                  <a:gd name="T11" fmla="*/ 2 h 19"/>
                  <a:gd name="T12" fmla="*/ 0 w 29"/>
                  <a:gd name="T13" fmla="*/ 7 h 19"/>
                  <a:gd name="T14" fmla="*/ 0 w 29"/>
                  <a:gd name="T15" fmla="*/ 12 h 19"/>
                  <a:gd name="T16" fmla="*/ 2 w 29"/>
                  <a:gd name="T17" fmla="*/ 17 h 19"/>
                  <a:gd name="T18" fmla="*/ 7 w 29"/>
                  <a:gd name="T19" fmla="*/ 19 h 19"/>
                  <a:gd name="T20" fmla="*/ 22 w 29"/>
                  <a:gd name="T21" fmla="*/ 19 h 19"/>
                  <a:gd name="T22" fmla="*/ 27 w 29"/>
                  <a:gd name="T23" fmla="*/ 17 h 19"/>
                  <a:gd name="T24" fmla="*/ 29 w 29"/>
                  <a:gd name="T25" fmla="*/ 13 h 19"/>
                  <a:gd name="T26" fmla="*/ 29 w 29"/>
                  <a:gd name="T27" fmla="*/ 12 h 19"/>
                  <a:gd name="T28" fmla="*/ 29 w 29"/>
                  <a:gd name="T29" fmla="*/ 7 h 19"/>
                  <a:gd name="T30" fmla="*/ 29 w 29"/>
                  <a:gd name="T31" fmla="*/ 6 h 19"/>
                  <a:gd name="T32" fmla="*/ 27 w 29"/>
                  <a:gd name="T33" fmla="*/ 12 h 19"/>
                  <a:gd name="T34" fmla="*/ 26 w 29"/>
                  <a:gd name="T35" fmla="*/ 15 h 19"/>
                  <a:gd name="T36" fmla="*/ 22 w 29"/>
                  <a:gd name="T37" fmla="*/ 17 h 19"/>
                  <a:gd name="T38" fmla="*/ 7 w 29"/>
                  <a:gd name="T39" fmla="*/ 17 h 19"/>
                  <a:gd name="T40" fmla="*/ 4 w 29"/>
                  <a:gd name="T41" fmla="*/ 15 h 19"/>
                  <a:gd name="T42" fmla="*/ 2 w 29"/>
                  <a:gd name="T43" fmla="*/ 12 h 19"/>
                  <a:gd name="T44" fmla="*/ 2 w 29"/>
                  <a:gd name="T45" fmla="*/ 7 h 19"/>
                  <a:gd name="T46" fmla="*/ 4 w 29"/>
                  <a:gd name="T47" fmla="*/ 4 h 19"/>
                  <a:gd name="T48" fmla="*/ 7 w 29"/>
                  <a:gd name="T49" fmla="*/ 2 h 19"/>
                  <a:gd name="T50" fmla="*/ 22 w 29"/>
                  <a:gd name="T51" fmla="*/ 2 h 19"/>
                  <a:gd name="T52" fmla="*/ 26 w 29"/>
                  <a:gd name="T53" fmla="*/ 4 h 19"/>
                  <a:gd name="T54" fmla="*/ 27 w 29"/>
                  <a:gd name="T55" fmla="*/ 7 h 19"/>
                  <a:gd name="T56" fmla="*/ 27 w 29"/>
                  <a:gd name="T57" fmla="*/ 1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9" h="19">
                    <a:moveTo>
                      <a:pt x="29" y="6"/>
                    </a:moveTo>
                    <a:cubicBezTo>
                      <a:pt x="29" y="4"/>
                      <a:pt x="28" y="3"/>
                      <a:pt x="27" y="2"/>
                    </a:cubicBezTo>
                    <a:cubicBezTo>
                      <a:pt x="26" y="1"/>
                      <a:pt x="24" y="0"/>
                      <a:pt x="22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4" y="1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1" y="3"/>
                      <a:pt x="0" y="5"/>
                      <a:pt x="0" y="7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6"/>
                      <a:pt x="2" y="17"/>
                    </a:cubicBezTo>
                    <a:cubicBezTo>
                      <a:pt x="3" y="18"/>
                      <a:pt x="5" y="19"/>
                      <a:pt x="7" y="19"/>
                    </a:cubicBezTo>
                    <a:cubicBezTo>
                      <a:pt x="22" y="19"/>
                      <a:pt x="22" y="19"/>
                      <a:pt x="22" y="19"/>
                    </a:cubicBezTo>
                    <a:cubicBezTo>
                      <a:pt x="24" y="19"/>
                      <a:pt x="26" y="18"/>
                      <a:pt x="27" y="17"/>
                    </a:cubicBezTo>
                    <a:cubicBezTo>
                      <a:pt x="28" y="16"/>
                      <a:pt x="29" y="15"/>
                      <a:pt x="29" y="13"/>
                    </a:cubicBezTo>
                    <a:cubicBezTo>
                      <a:pt x="29" y="13"/>
                      <a:pt x="29" y="13"/>
                      <a:pt x="29" y="12"/>
                    </a:cubicBezTo>
                    <a:cubicBezTo>
                      <a:pt x="29" y="7"/>
                      <a:pt x="29" y="7"/>
                      <a:pt x="29" y="7"/>
                    </a:cubicBezTo>
                    <a:cubicBezTo>
                      <a:pt x="29" y="6"/>
                      <a:pt x="29" y="6"/>
                      <a:pt x="29" y="6"/>
                    </a:cubicBezTo>
                    <a:close/>
                    <a:moveTo>
                      <a:pt x="27" y="12"/>
                    </a:moveTo>
                    <a:cubicBezTo>
                      <a:pt x="27" y="14"/>
                      <a:pt x="26" y="15"/>
                      <a:pt x="26" y="15"/>
                    </a:cubicBezTo>
                    <a:cubicBezTo>
                      <a:pt x="25" y="16"/>
                      <a:pt x="24" y="17"/>
                      <a:pt x="22" y="17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6" y="17"/>
                      <a:pt x="5" y="16"/>
                      <a:pt x="4" y="15"/>
                    </a:cubicBezTo>
                    <a:cubicBezTo>
                      <a:pt x="3" y="15"/>
                      <a:pt x="2" y="14"/>
                      <a:pt x="2" y="12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5"/>
                      <a:pt x="3" y="4"/>
                      <a:pt x="4" y="4"/>
                    </a:cubicBezTo>
                    <a:cubicBezTo>
                      <a:pt x="5" y="3"/>
                      <a:pt x="6" y="2"/>
                      <a:pt x="7" y="2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4" y="2"/>
                      <a:pt x="25" y="3"/>
                      <a:pt x="26" y="4"/>
                    </a:cubicBezTo>
                    <a:cubicBezTo>
                      <a:pt x="26" y="4"/>
                      <a:pt x="27" y="5"/>
                      <a:pt x="27" y="7"/>
                    </a:cubicBezTo>
                    <a:lnTo>
                      <a:pt x="27" y="12"/>
                    </a:ln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8" name="Oval 49"/>
              <p:cNvSpPr>
                <a:spLocks noChangeArrowheads="1"/>
              </p:cNvSpPr>
              <p:nvPr/>
            </p:nvSpPr>
            <p:spPr bwMode="auto">
              <a:xfrm>
                <a:off x="14719300" y="2840038"/>
                <a:ext cx="19050" cy="19050"/>
              </a:xfrm>
              <a:prstGeom prst="ellipse">
                <a:avLst/>
              </a:pr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9" name="Oval 50"/>
              <p:cNvSpPr>
                <a:spLocks noChangeArrowheads="1"/>
              </p:cNvSpPr>
              <p:nvPr/>
            </p:nvSpPr>
            <p:spPr bwMode="auto">
              <a:xfrm>
                <a:off x="14678025" y="2874963"/>
                <a:ext cx="22225" cy="19050"/>
              </a:xfrm>
              <a:prstGeom prst="ellipse">
                <a:avLst/>
              </a:pr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0" name="Oval 51"/>
              <p:cNvSpPr>
                <a:spLocks noChangeArrowheads="1"/>
              </p:cNvSpPr>
              <p:nvPr/>
            </p:nvSpPr>
            <p:spPr bwMode="auto">
              <a:xfrm>
                <a:off x="14678025" y="2840038"/>
                <a:ext cx="22225" cy="19050"/>
              </a:xfrm>
              <a:prstGeom prst="ellipse">
                <a:avLst/>
              </a:pr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1" name="Oval 52"/>
              <p:cNvSpPr>
                <a:spLocks noChangeArrowheads="1"/>
              </p:cNvSpPr>
              <p:nvPr/>
            </p:nvSpPr>
            <p:spPr bwMode="auto">
              <a:xfrm>
                <a:off x="14719300" y="2874963"/>
                <a:ext cx="19050" cy="19050"/>
              </a:xfrm>
              <a:prstGeom prst="ellipse">
                <a:avLst/>
              </a:pr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2" name="Freeform 53"/>
              <p:cNvSpPr>
                <a:spLocks/>
              </p:cNvSpPr>
              <p:nvPr/>
            </p:nvSpPr>
            <p:spPr bwMode="auto">
              <a:xfrm>
                <a:off x="14760575" y="2908301"/>
                <a:ext cx="19050" cy="19050"/>
              </a:xfrm>
              <a:custGeom>
                <a:avLst/>
                <a:gdLst>
                  <a:gd name="T0" fmla="*/ 2 w 5"/>
                  <a:gd name="T1" fmla="*/ 0 h 5"/>
                  <a:gd name="T2" fmla="*/ 0 w 5"/>
                  <a:gd name="T3" fmla="*/ 2 h 5"/>
                  <a:gd name="T4" fmla="*/ 1 w 5"/>
                  <a:gd name="T5" fmla="*/ 4 h 5"/>
                  <a:gd name="T6" fmla="*/ 2 w 5"/>
                  <a:gd name="T7" fmla="*/ 5 h 5"/>
                  <a:gd name="T8" fmla="*/ 4 w 5"/>
                  <a:gd name="T9" fmla="*/ 4 h 5"/>
                  <a:gd name="T10" fmla="*/ 5 w 5"/>
                  <a:gd name="T11" fmla="*/ 2 h 5"/>
                  <a:gd name="T12" fmla="*/ 2 w 5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5">
                    <a:moveTo>
                      <a:pt x="2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0" y="4"/>
                      <a:pt x="1" y="4"/>
                    </a:cubicBezTo>
                    <a:cubicBezTo>
                      <a:pt x="1" y="5"/>
                      <a:pt x="2" y="5"/>
                      <a:pt x="2" y="5"/>
                    </a:cubicBezTo>
                    <a:cubicBezTo>
                      <a:pt x="3" y="5"/>
                      <a:pt x="3" y="5"/>
                      <a:pt x="4" y="4"/>
                    </a:cubicBezTo>
                    <a:cubicBezTo>
                      <a:pt x="5" y="4"/>
                      <a:pt x="5" y="3"/>
                      <a:pt x="5" y="2"/>
                    </a:cubicBezTo>
                    <a:cubicBezTo>
                      <a:pt x="5" y="1"/>
                      <a:pt x="4" y="0"/>
                      <a:pt x="2" y="0"/>
                    </a:cubicBez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3" name="Freeform 54"/>
              <p:cNvSpPr>
                <a:spLocks/>
              </p:cNvSpPr>
              <p:nvPr/>
            </p:nvSpPr>
            <p:spPr bwMode="auto">
              <a:xfrm>
                <a:off x="14678025" y="2908301"/>
                <a:ext cx="22225" cy="19050"/>
              </a:xfrm>
              <a:custGeom>
                <a:avLst/>
                <a:gdLst>
                  <a:gd name="T0" fmla="*/ 3 w 6"/>
                  <a:gd name="T1" fmla="*/ 0 h 5"/>
                  <a:gd name="T2" fmla="*/ 0 w 6"/>
                  <a:gd name="T3" fmla="*/ 2 h 5"/>
                  <a:gd name="T4" fmla="*/ 1 w 6"/>
                  <a:gd name="T5" fmla="*/ 4 h 5"/>
                  <a:gd name="T6" fmla="*/ 3 w 6"/>
                  <a:gd name="T7" fmla="*/ 5 h 5"/>
                  <a:gd name="T8" fmla="*/ 5 w 6"/>
                  <a:gd name="T9" fmla="*/ 4 h 5"/>
                  <a:gd name="T10" fmla="*/ 6 w 6"/>
                  <a:gd name="T11" fmla="*/ 2 h 5"/>
                  <a:gd name="T12" fmla="*/ 3 w 6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5">
                    <a:moveTo>
                      <a:pt x="3" y="0"/>
                    </a:moveTo>
                    <a:cubicBezTo>
                      <a:pt x="2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1" y="4"/>
                    </a:cubicBezTo>
                    <a:cubicBezTo>
                      <a:pt x="2" y="5"/>
                      <a:pt x="2" y="5"/>
                      <a:pt x="3" y="5"/>
                    </a:cubicBezTo>
                    <a:cubicBezTo>
                      <a:pt x="4" y="5"/>
                      <a:pt x="4" y="5"/>
                      <a:pt x="5" y="4"/>
                    </a:cubicBezTo>
                    <a:cubicBezTo>
                      <a:pt x="5" y="4"/>
                      <a:pt x="6" y="3"/>
                      <a:pt x="6" y="2"/>
                    </a:cubicBezTo>
                    <a:cubicBezTo>
                      <a:pt x="6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4" name="Freeform 55"/>
              <p:cNvSpPr>
                <a:spLocks/>
              </p:cNvSpPr>
              <p:nvPr/>
            </p:nvSpPr>
            <p:spPr bwMode="auto">
              <a:xfrm>
                <a:off x="14719300" y="2908301"/>
                <a:ext cx="19050" cy="19050"/>
              </a:xfrm>
              <a:custGeom>
                <a:avLst/>
                <a:gdLst>
                  <a:gd name="T0" fmla="*/ 3 w 5"/>
                  <a:gd name="T1" fmla="*/ 0 h 5"/>
                  <a:gd name="T2" fmla="*/ 0 w 5"/>
                  <a:gd name="T3" fmla="*/ 2 h 5"/>
                  <a:gd name="T4" fmla="*/ 1 w 5"/>
                  <a:gd name="T5" fmla="*/ 4 h 5"/>
                  <a:gd name="T6" fmla="*/ 3 w 5"/>
                  <a:gd name="T7" fmla="*/ 5 h 5"/>
                  <a:gd name="T8" fmla="*/ 4 w 5"/>
                  <a:gd name="T9" fmla="*/ 4 h 5"/>
                  <a:gd name="T10" fmla="*/ 5 w 5"/>
                  <a:gd name="T11" fmla="*/ 2 h 5"/>
                  <a:gd name="T12" fmla="*/ 3 w 5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5">
                    <a:moveTo>
                      <a:pt x="3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0" y="4"/>
                      <a:pt x="1" y="4"/>
                    </a:cubicBezTo>
                    <a:cubicBezTo>
                      <a:pt x="1" y="5"/>
                      <a:pt x="2" y="5"/>
                      <a:pt x="3" y="5"/>
                    </a:cubicBezTo>
                    <a:cubicBezTo>
                      <a:pt x="3" y="5"/>
                      <a:pt x="4" y="5"/>
                      <a:pt x="4" y="4"/>
                    </a:cubicBezTo>
                    <a:cubicBezTo>
                      <a:pt x="5" y="4"/>
                      <a:pt x="5" y="3"/>
                      <a:pt x="5" y="2"/>
                    </a:cubicBezTo>
                    <a:cubicBezTo>
                      <a:pt x="5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7" name="Freeform 58"/>
              <p:cNvSpPr>
                <a:spLocks noEditPoints="1"/>
              </p:cNvSpPr>
              <p:nvPr/>
            </p:nvSpPr>
            <p:spPr bwMode="auto">
              <a:xfrm>
                <a:off x="14658975" y="2693988"/>
                <a:ext cx="139700" cy="247650"/>
              </a:xfrm>
              <a:custGeom>
                <a:avLst/>
                <a:gdLst>
                  <a:gd name="T0" fmla="*/ 36 w 37"/>
                  <a:gd name="T1" fmla="*/ 12 h 66"/>
                  <a:gd name="T2" fmla="*/ 33 w 37"/>
                  <a:gd name="T3" fmla="*/ 11 h 66"/>
                  <a:gd name="T4" fmla="*/ 33 w 37"/>
                  <a:gd name="T5" fmla="*/ 11 h 66"/>
                  <a:gd name="T6" fmla="*/ 33 w 37"/>
                  <a:gd name="T7" fmla="*/ 2 h 66"/>
                  <a:gd name="T8" fmla="*/ 30 w 37"/>
                  <a:gd name="T9" fmla="*/ 2 h 66"/>
                  <a:gd name="T10" fmla="*/ 30 w 37"/>
                  <a:gd name="T11" fmla="*/ 11 h 66"/>
                  <a:gd name="T12" fmla="*/ 30 w 37"/>
                  <a:gd name="T13" fmla="*/ 11 h 66"/>
                  <a:gd name="T14" fmla="*/ 4 w 37"/>
                  <a:gd name="T15" fmla="*/ 11 h 66"/>
                  <a:gd name="T16" fmla="*/ 1 w 37"/>
                  <a:gd name="T17" fmla="*/ 12 h 66"/>
                  <a:gd name="T18" fmla="*/ 0 w 37"/>
                  <a:gd name="T19" fmla="*/ 15 h 66"/>
                  <a:gd name="T20" fmla="*/ 0 w 37"/>
                  <a:gd name="T21" fmla="*/ 62 h 66"/>
                  <a:gd name="T22" fmla="*/ 1 w 37"/>
                  <a:gd name="T23" fmla="*/ 65 h 66"/>
                  <a:gd name="T24" fmla="*/ 4 w 37"/>
                  <a:gd name="T25" fmla="*/ 66 h 66"/>
                  <a:gd name="T26" fmla="*/ 33 w 37"/>
                  <a:gd name="T27" fmla="*/ 66 h 66"/>
                  <a:gd name="T28" fmla="*/ 36 w 37"/>
                  <a:gd name="T29" fmla="*/ 64 h 66"/>
                  <a:gd name="T30" fmla="*/ 37 w 37"/>
                  <a:gd name="T31" fmla="*/ 62 h 66"/>
                  <a:gd name="T32" fmla="*/ 37 w 37"/>
                  <a:gd name="T33" fmla="*/ 15 h 66"/>
                  <a:gd name="T34" fmla="*/ 36 w 37"/>
                  <a:gd name="T35" fmla="*/ 12 h 66"/>
                  <a:gd name="T36" fmla="*/ 35 w 37"/>
                  <a:gd name="T37" fmla="*/ 62 h 66"/>
                  <a:gd name="T38" fmla="*/ 35 w 37"/>
                  <a:gd name="T39" fmla="*/ 63 h 66"/>
                  <a:gd name="T40" fmla="*/ 33 w 37"/>
                  <a:gd name="T41" fmla="*/ 63 h 66"/>
                  <a:gd name="T42" fmla="*/ 32 w 37"/>
                  <a:gd name="T43" fmla="*/ 63 h 66"/>
                  <a:gd name="T44" fmla="*/ 27 w 37"/>
                  <a:gd name="T45" fmla="*/ 63 h 66"/>
                  <a:gd name="T46" fmla="*/ 21 w 37"/>
                  <a:gd name="T47" fmla="*/ 63 h 66"/>
                  <a:gd name="T48" fmla="*/ 16 w 37"/>
                  <a:gd name="T49" fmla="*/ 63 h 66"/>
                  <a:gd name="T50" fmla="*/ 10 w 37"/>
                  <a:gd name="T51" fmla="*/ 63 h 66"/>
                  <a:gd name="T52" fmla="*/ 6 w 37"/>
                  <a:gd name="T53" fmla="*/ 63 h 66"/>
                  <a:gd name="T54" fmla="*/ 4 w 37"/>
                  <a:gd name="T55" fmla="*/ 63 h 66"/>
                  <a:gd name="T56" fmla="*/ 3 w 37"/>
                  <a:gd name="T57" fmla="*/ 63 h 66"/>
                  <a:gd name="T58" fmla="*/ 2 w 37"/>
                  <a:gd name="T59" fmla="*/ 62 h 66"/>
                  <a:gd name="T60" fmla="*/ 2 w 37"/>
                  <a:gd name="T61" fmla="*/ 29 h 66"/>
                  <a:gd name="T62" fmla="*/ 2 w 37"/>
                  <a:gd name="T63" fmla="*/ 22 h 66"/>
                  <a:gd name="T64" fmla="*/ 2 w 37"/>
                  <a:gd name="T65" fmla="*/ 15 h 66"/>
                  <a:gd name="T66" fmla="*/ 3 w 37"/>
                  <a:gd name="T67" fmla="*/ 14 h 66"/>
                  <a:gd name="T68" fmla="*/ 4 w 37"/>
                  <a:gd name="T69" fmla="*/ 13 h 66"/>
                  <a:gd name="T70" fmla="*/ 29 w 37"/>
                  <a:gd name="T71" fmla="*/ 13 h 66"/>
                  <a:gd name="T72" fmla="*/ 29 w 37"/>
                  <a:gd name="T73" fmla="*/ 13 h 66"/>
                  <a:gd name="T74" fmla="*/ 29 w 37"/>
                  <a:gd name="T75" fmla="*/ 13 h 66"/>
                  <a:gd name="T76" fmla="*/ 33 w 37"/>
                  <a:gd name="T77" fmla="*/ 13 h 66"/>
                  <a:gd name="T78" fmla="*/ 35 w 37"/>
                  <a:gd name="T79" fmla="*/ 14 h 66"/>
                  <a:gd name="T80" fmla="*/ 35 w 37"/>
                  <a:gd name="T81" fmla="*/ 15 h 66"/>
                  <a:gd name="T82" fmla="*/ 35 w 37"/>
                  <a:gd name="T83" fmla="*/ 22 h 66"/>
                  <a:gd name="T84" fmla="*/ 35 w 37"/>
                  <a:gd name="T85" fmla="*/ 29 h 66"/>
                  <a:gd name="T86" fmla="*/ 35 w 37"/>
                  <a:gd name="T87" fmla="*/ 6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7" h="66">
                    <a:moveTo>
                      <a:pt x="36" y="12"/>
                    </a:moveTo>
                    <a:cubicBezTo>
                      <a:pt x="36" y="12"/>
                      <a:pt x="35" y="11"/>
                      <a:pt x="33" y="1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3" y="8"/>
                      <a:pt x="33" y="5"/>
                      <a:pt x="33" y="2"/>
                    </a:cubicBezTo>
                    <a:cubicBezTo>
                      <a:pt x="33" y="1"/>
                      <a:pt x="30" y="0"/>
                      <a:pt x="30" y="2"/>
                    </a:cubicBezTo>
                    <a:cubicBezTo>
                      <a:pt x="30" y="5"/>
                      <a:pt x="30" y="8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1"/>
                      <a:pt x="2" y="11"/>
                      <a:pt x="1" y="12"/>
                    </a:cubicBezTo>
                    <a:cubicBezTo>
                      <a:pt x="0" y="13"/>
                      <a:pt x="0" y="14"/>
                      <a:pt x="0" y="15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3"/>
                      <a:pt x="0" y="64"/>
                      <a:pt x="1" y="65"/>
                    </a:cubicBezTo>
                    <a:cubicBezTo>
                      <a:pt x="2" y="65"/>
                      <a:pt x="3" y="66"/>
                      <a:pt x="4" y="66"/>
                    </a:cubicBezTo>
                    <a:cubicBezTo>
                      <a:pt x="33" y="66"/>
                      <a:pt x="33" y="66"/>
                      <a:pt x="33" y="66"/>
                    </a:cubicBezTo>
                    <a:cubicBezTo>
                      <a:pt x="34" y="66"/>
                      <a:pt x="36" y="65"/>
                      <a:pt x="36" y="64"/>
                    </a:cubicBezTo>
                    <a:cubicBezTo>
                      <a:pt x="37" y="64"/>
                      <a:pt x="37" y="63"/>
                      <a:pt x="37" y="62"/>
                    </a:cubicBezTo>
                    <a:cubicBezTo>
                      <a:pt x="37" y="15"/>
                      <a:pt x="37" y="15"/>
                      <a:pt x="37" y="15"/>
                    </a:cubicBezTo>
                    <a:cubicBezTo>
                      <a:pt x="37" y="14"/>
                      <a:pt x="37" y="13"/>
                      <a:pt x="36" y="12"/>
                    </a:cubicBezTo>
                    <a:close/>
                    <a:moveTo>
                      <a:pt x="35" y="62"/>
                    </a:moveTo>
                    <a:cubicBezTo>
                      <a:pt x="35" y="62"/>
                      <a:pt x="35" y="63"/>
                      <a:pt x="35" y="63"/>
                    </a:cubicBezTo>
                    <a:cubicBezTo>
                      <a:pt x="34" y="63"/>
                      <a:pt x="34" y="63"/>
                      <a:pt x="33" y="63"/>
                    </a:cubicBezTo>
                    <a:cubicBezTo>
                      <a:pt x="32" y="63"/>
                      <a:pt x="32" y="63"/>
                      <a:pt x="32" y="63"/>
                    </a:cubicBezTo>
                    <a:cubicBezTo>
                      <a:pt x="27" y="63"/>
                      <a:pt x="27" y="63"/>
                      <a:pt x="27" y="63"/>
                    </a:cubicBezTo>
                    <a:cubicBezTo>
                      <a:pt x="21" y="63"/>
                      <a:pt x="21" y="63"/>
                      <a:pt x="21" y="63"/>
                    </a:cubicBezTo>
                    <a:cubicBezTo>
                      <a:pt x="16" y="63"/>
                      <a:pt x="16" y="63"/>
                      <a:pt x="16" y="63"/>
                    </a:cubicBezTo>
                    <a:cubicBezTo>
                      <a:pt x="10" y="63"/>
                      <a:pt x="10" y="63"/>
                      <a:pt x="10" y="63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3"/>
                      <a:pt x="3" y="63"/>
                      <a:pt x="3" y="63"/>
                    </a:cubicBezTo>
                    <a:cubicBezTo>
                      <a:pt x="2" y="63"/>
                      <a:pt x="2" y="62"/>
                      <a:pt x="2" y="62"/>
                    </a:cubicBezTo>
                    <a:cubicBezTo>
                      <a:pt x="2" y="29"/>
                      <a:pt x="2" y="29"/>
                      <a:pt x="2" y="29"/>
                    </a:cubicBezTo>
                    <a:cubicBezTo>
                      <a:pt x="2" y="22"/>
                      <a:pt x="2" y="22"/>
                      <a:pt x="2" y="22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2" y="15"/>
                      <a:pt x="2" y="14"/>
                      <a:pt x="3" y="14"/>
                    </a:cubicBezTo>
                    <a:cubicBezTo>
                      <a:pt x="3" y="13"/>
                      <a:pt x="3" y="13"/>
                      <a:pt x="4" y="13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33" y="13"/>
                      <a:pt x="33" y="13"/>
                      <a:pt x="33" y="13"/>
                    </a:cubicBezTo>
                    <a:cubicBezTo>
                      <a:pt x="34" y="13"/>
                      <a:pt x="34" y="13"/>
                      <a:pt x="35" y="14"/>
                    </a:cubicBezTo>
                    <a:cubicBezTo>
                      <a:pt x="35" y="14"/>
                      <a:pt x="35" y="15"/>
                      <a:pt x="35" y="15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5" y="29"/>
                      <a:pt x="35" y="29"/>
                      <a:pt x="35" y="29"/>
                    </a:cubicBezTo>
                    <a:lnTo>
                      <a:pt x="35" y="62"/>
                    </a:lnTo>
                    <a:close/>
                  </a:path>
                </a:pathLst>
              </a:custGeom>
              <a:solidFill>
                <a:srgbClr val="3F96CE"/>
              </a:solidFill>
              <a:ln w="12700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8" name="Freeform 59"/>
              <p:cNvSpPr>
                <a:spLocks/>
              </p:cNvSpPr>
              <p:nvPr/>
            </p:nvSpPr>
            <p:spPr bwMode="auto">
              <a:xfrm>
                <a:off x="14504988" y="2570163"/>
                <a:ext cx="450850" cy="319088"/>
              </a:xfrm>
              <a:custGeom>
                <a:avLst/>
                <a:gdLst>
                  <a:gd name="T0" fmla="*/ 114 w 120"/>
                  <a:gd name="T1" fmla="*/ 43 h 85"/>
                  <a:gd name="T2" fmla="*/ 104 w 120"/>
                  <a:gd name="T3" fmla="*/ 36 h 85"/>
                  <a:gd name="T4" fmla="*/ 92 w 120"/>
                  <a:gd name="T5" fmla="*/ 12 h 85"/>
                  <a:gd name="T6" fmla="*/ 62 w 120"/>
                  <a:gd name="T7" fmla="*/ 0 h 85"/>
                  <a:gd name="T8" fmla="*/ 40 w 120"/>
                  <a:gd name="T9" fmla="*/ 7 h 85"/>
                  <a:gd name="T10" fmla="*/ 26 w 120"/>
                  <a:gd name="T11" fmla="*/ 21 h 85"/>
                  <a:gd name="T12" fmla="*/ 9 w 120"/>
                  <a:gd name="T13" fmla="*/ 31 h 85"/>
                  <a:gd name="T14" fmla="*/ 0 w 120"/>
                  <a:gd name="T15" fmla="*/ 53 h 85"/>
                  <a:gd name="T16" fmla="*/ 8 w 120"/>
                  <a:gd name="T17" fmla="*/ 74 h 85"/>
                  <a:gd name="T18" fmla="*/ 8 w 120"/>
                  <a:gd name="T19" fmla="*/ 74 h 85"/>
                  <a:gd name="T20" fmla="*/ 9 w 120"/>
                  <a:gd name="T21" fmla="*/ 75 h 85"/>
                  <a:gd name="T22" fmla="*/ 32 w 120"/>
                  <a:gd name="T23" fmla="*/ 85 h 85"/>
                  <a:gd name="T24" fmla="*/ 36 w 120"/>
                  <a:gd name="T25" fmla="*/ 85 h 85"/>
                  <a:gd name="T26" fmla="*/ 38 w 120"/>
                  <a:gd name="T27" fmla="*/ 83 h 85"/>
                  <a:gd name="T28" fmla="*/ 32 w 120"/>
                  <a:gd name="T29" fmla="*/ 83 h 85"/>
                  <a:gd name="T30" fmla="*/ 11 w 120"/>
                  <a:gd name="T31" fmla="*/ 74 h 85"/>
                  <a:gd name="T32" fmla="*/ 11 w 120"/>
                  <a:gd name="T33" fmla="*/ 74 h 85"/>
                  <a:gd name="T34" fmla="*/ 2 w 120"/>
                  <a:gd name="T35" fmla="*/ 53 h 85"/>
                  <a:gd name="T36" fmla="*/ 10 w 120"/>
                  <a:gd name="T37" fmla="*/ 32 h 85"/>
                  <a:gd name="T38" fmla="*/ 27 w 120"/>
                  <a:gd name="T39" fmla="*/ 23 h 85"/>
                  <a:gd name="T40" fmla="*/ 41 w 120"/>
                  <a:gd name="T41" fmla="*/ 8 h 85"/>
                  <a:gd name="T42" fmla="*/ 62 w 120"/>
                  <a:gd name="T43" fmla="*/ 2 h 85"/>
                  <a:gd name="T44" fmla="*/ 90 w 120"/>
                  <a:gd name="T45" fmla="*/ 13 h 85"/>
                  <a:gd name="T46" fmla="*/ 102 w 120"/>
                  <a:gd name="T47" fmla="*/ 38 h 85"/>
                  <a:gd name="T48" fmla="*/ 112 w 120"/>
                  <a:gd name="T49" fmla="*/ 45 h 85"/>
                  <a:gd name="T50" fmla="*/ 117 w 120"/>
                  <a:gd name="T51" fmla="*/ 60 h 85"/>
                  <a:gd name="T52" fmla="*/ 111 w 120"/>
                  <a:gd name="T53" fmla="*/ 76 h 85"/>
                  <a:gd name="T54" fmla="*/ 111 w 120"/>
                  <a:gd name="T55" fmla="*/ 76 h 85"/>
                  <a:gd name="T56" fmla="*/ 111 w 120"/>
                  <a:gd name="T57" fmla="*/ 76 h 85"/>
                  <a:gd name="T58" fmla="*/ 94 w 120"/>
                  <a:gd name="T59" fmla="*/ 83 h 85"/>
                  <a:gd name="T60" fmla="*/ 94 w 120"/>
                  <a:gd name="T61" fmla="*/ 83 h 85"/>
                  <a:gd name="T62" fmla="*/ 82 w 120"/>
                  <a:gd name="T63" fmla="*/ 83 h 85"/>
                  <a:gd name="T64" fmla="*/ 84 w 120"/>
                  <a:gd name="T65" fmla="*/ 85 h 85"/>
                  <a:gd name="T66" fmla="*/ 94 w 120"/>
                  <a:gd name="T67" fmla="*/ 85 h 85"/>
                  <a:gd name="T68" fmla="*/ 108 w 120"/>
                  <a:gd name="T69" fmla="*/ 81 h 85"/>
                  <a:gd name="T70" fmla="*/ 112 w 120"/>
                  <a:gd name="T71" fmla="*/ 77 h 85"/>
                  <a:gd name="T72" fmla="*/ 120 w 120"/>
                  <a:gd name="T73" fmla="*/ 60 h 85"/>
                  <a:gd name="T74" fmla="*/ 114 w 120"/>
                  <a:gd name="T75" fmla="*/ 43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0" h="85">
                    <a:moveTo>
                      <a:pt x="114" y="43"/>
                    </a:moveTo>
                    <a:cubicBezTo>
                      <a:pt x="111" y="40"/>
                      <a:pt x="108" y="38"/>
                      <a:pt x="104" y="36"/>
                    </a:cubicBezTo>
                    <a:cubicBezTo>
                      <a:pt x="103" y="27"/>
                      <a:pt x="98" y="18"/>
                      <a:pt x="92" y="12"/>
                    </a:cubicBezTo>
                    <a:cubicBezTo>
                      <a:pt x="84" y="4"/>
                      <a:pt x="74" y="0"/>
                      <a:pt x="62" y="0"/>
                    </a:cubicBezTo>
                    <a:cubicBezTo>
                      <a:pt x="54" y="0"/>
                      <a:pt x="46" y="2"/>
                      <a:pt x="40" y="7"/>
                    </a:cubicBezTo>
                    <a:cubicBezTo>
                      <a:pt x="34" y="10"/>
                      <a:pt x="29" y="15"/>
                      <a:pt x="26" y="21"/>
                    </a:cubicBezTo>
                    <a:cubicBezTo>
                      <a:pt x="19" y="23"/>
                      <a:pt x="13" y="26"/>
                      <a:pt x="9" y="31"/>
                    </a:cubicBezTo>
                    <a:cubicBezTo>
                      <a:pt x="3" y="37"/>
                      <a:pt x="0" y="45"/>
                      <a:pt x="0" y="53"/>
                    </a:cubicBezTo>
                    <a:cubicBezTo>
                      <a:pt x="0" y="61"/>
                      <a:pt x="3" y="68"/>
                      <a:pt x="8" y="74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9" y="75"/>
                      <a:pt x="9" y="75"/>
                      <a:pt x="9" y="75"/>
                    </a:cubicBezTo>
                    <a:cubicBezTo>
                      <a:pt x="15" y="82"/>
                      <a:pt x="23" y="85"/>
                      <a:pt x="32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8" y="83"/>
                      <a:pt x="38" y="83"/>
                      <a:pt x="38" y="83"/>
                    </a:cubicBezTo>
                    <a:cubicBezTo>
                      <a:pt x="32" y="83"/>
                      <a:pt x="32" y="83"/>
                      <a:pt x="32" y="83"/>
                    </a:cubicBezTo>
                    <a:cubicBezTo>
                      <a:pt x="24" y="83"/>
                      <a:pt x="16" y="79"/>
                      <a:pt x="11" y="74"/>
                    </a:cubicBezTo>
                    <a:cubicBezTo>
                      <a:pt x="11" y="74"/>
                      <a:pt x="11" y="74"/>
                      <a:pt x="11" y="74"/>
                    </a:cubicBezTo>
                    <a:cubicBezTo>
                      <a:pt x="5" y="69"/>
                      <a:pt x="2" y="61"/>
                      <a:pt x="2" y="53"/>
                    </a:cubicBezTo>
                    <a:cubicBezTo>
                      <a:pt x="2" y="45"/>
                      <a:pt x="5" y="38"/>
                      <a:pt x="10" y="32"/>
                    </a:cubicBezTo>
                    <a:cubicBezTo>
                      <a:pt x="15" y="28"/>
                      <a:pt x="21" y="24"/>
                      <a:pt x="27" y="23"/>
                    </a:cubicBezTo>
                    <a:cubicBezTo>
                      <a:pt x="31" y="17"/>
                      <a:pt x="35" y="12"/>
                      <a:pt x="41" y="8"/>
                    </a:cubicBezTo>
                    <a:cubicBezTo>
                      <a:pt x="47" y="4"/>
                      <a:pt x="55" y="2"/>
                      <a:pt x="62" y="2"/>
                    </a:cubicBezTo>
                    <a:cubicBezTo>
                      <a:pt x="73" y="2"/>
                      <a:pt x="83" y="6"/>
                      <a:pt x="90" y="13"/>
                    </a:cubicBezTo>
                    <a:cubicBezTo>
                      <a:pt x="97" y="20"/>
                      <a:pt x="101" y="28"/>
                      <a:pt x="102" y="38"/>
                    </a:cubicBezTo>
                    <a:cubicBezTo>
                      <a:pt x="106" y="39"/>
                      <a:pt x="109" y="42"/>
                      <a:pt x="112" y="45"/>
                    </a:cubicBezTo>
                    <a:cubicBezTo>
                      <a:pt x="115" y="49"/>
                      <a:pt x="117" y="54"/>
                      <a:pt x="117" y="60"/>
                    </a:cubicBezTo>
                    <a:cubicBezTo>
                      <a:pt x="117" y="66"/>
                      <a:pt x="115" y="72"/>
                      <a:pt x="111" y="76"/>
                    </a:cubicBezTo>
                    <a:cubicBezTo>
                      <a:pt x="111" y="76"/>
                      <a:pt x="111" y="76"/>
                      <a:pt x="111" y="76"/>
                    </a:cubicBezTo>
                    <a:cubicBezTo>
                      <a:pt x="111" y="76"/>
                      <a:pt x="111" y="76"/>
                      <a:pt x="111" y="76"/>
                    </a:cubicBezTo>
                    <a:cubicBezTo>
                      <a:pt x="106" y="80"/>
                      <a:pt x="101" y="83"/>
                      <a:pt x="94" y="83"/>
                    </a:cubicBezTo>
                    <a:cubicBezTo>
                      <a:pt x="94" y="83"/>
                      <a:pt x="94" y="83"/>
                      <a:pt x="94" y="83"/>
                    </a:cubicBezTo>
                    <a:cubicBezTo>
                      <a:pt x="82" y="83"/>
                      <a:pt x="82" y="83"/>
                      <a:pt x="82" y="83"/>
                    </a:cubicBezTo>
                    <a:cubicBezTo>
                      <a:pt x="84" y="85"/>
                      <a:pt x="84" y="85"/>
                      <a:pt x="84" y="85"/>
                    </a:cubicBezTo>
                    <a:cubicBezTo>
                      <a:pt x="94" y="85"/>
                      <a:pt x="94" y="85"/>
                      <a:pt x="94" y="85"/>
                    </a:cubicBezTo>
                    <a:cubicBezTo>
                      <a:pt x="99" y="85"/>
                      <a:pt x="104" y="83"/>
                      <a:pt x="108" y="81"/>
                    </a:cubicBezTo>
                    <a:cubicBezTo>
                      <a:pt x="112" y="77"/>
                      <a:pt x="112" y="77"/>
                      <a:pt x="112" y="77"/>
                    </a:cubicBezTo>
                    <a:cubicBezTo>
                      <a:pt x="117" y="73"/>
                      <a:pt x="120" y="66"/>
                      <a:pt x="120" y="60"/>
                    </a:cubicBezTo>
                    <a:cubicBezTo>
                      <a:pt x="120" y="54"/>
                      <a:pt x="117" y="48"/>
                      <a:pt x="114" y="43"/>
                    </a:cubicBezTo>
                    <a:close/>
                  </a:path>
                </a:pathLst>
              </a:custGeom>
              <a:solidFill>
                <a:srgbClr val="3F96CE"/>
              </a:solidFill>
              <a:ln w="28575"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cxnSp>
          <p:nvCxnSpPr>
            <p:cNvPr id="128" name="Gerade Verbindung 127"/>
            <p:cNvCxnSpPr/>
            <p:nvPr/>
          </p:nvCxnSpPr>
          <p:spPr>
            <a:xfrm flipV="1">
              <a:off x="3629458" y="3193240"/>
              <a:ext cx="2287116" cy="1918958"/>
            </a:xfrm>
            <a:prstGeom prst="line">
              <a:avLst/>
            </a:prstGeom>
            <a:ln w="19050">
              <a:solidFill>
                <a:srgbClr val="3F96CE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133"/>
            <p:cNvCxnSpPr/>
            <p:nvPr/>
          </p:nvCxnSpPr>
          <p:spPr>
            <a:xfrm>
              <a:off x="1790364" y="3152329"/>
              <a:ext cx="4126210" cy="53049"/>
            </a:xfrm>
            <a:prstGeom prst="line">
              <a:avLst/>
            </a:prstGeom>
            <a:ln w="19050">
              <a:solidFill>
                <a:srgbClr val="3F96CE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Gerade Verbindung 136"/>
            <p:cNvCxnSpPr/>
            <p:nvPr/>
          </p:nvCxnSpPr>
          <p:spPr>
            <a:xfrm>
              <a:off x="2922954" y="2181680"/>
              <a:ext cx="2993619" cy="1023697"/>
            </a:xfrm>
            <a:prstGeom prst="line">
              <a:avLst/>
            </a:prstGeom>
            <a:ln w="19050">
              <a:solidFill>
                <a:srgbClr val="3F96CE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139"/>
            <p:cNvCxnSpPr/>
            <p:nvPr/>
          </p:nvCxnSpPr>
          <p:spPr>
            <a:xfrm flipH="1">
              <a:off x="5933720" y="1421418"/>
              <a:ext cx="2322237" cy="1783960"/>
            </a:xfrm>
            <a:prstGeom prst="line">
              <a:avLst/>
            </a:prstGeom>
            <a:ln w="19050">
              <a:solidFill>
                <a:srgbClr val="3F96CE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" name="Gruppieren 1"/>
            <p:cNvGrpSpPr/>
            <p:nvPr/>
          </p:nvGrpSpPr>
          <p:grpSpPr>
            <a:xfrm>
              <a:off x="3823057" y="1995106"/>
              <a:ext cx="4273455" cy="2639753"/>
              <a:chOff x="3573244" y="2399511"/>
              <a:chExt cx="4970234" cy="3070160"/>
            </a:xfrm>
          </p:grpSpPr>
          <p:sp>
            <p:nvSpPr>
              <p:cNvPr id="33" name="Freeform 31"/>
              <p:cNvSpPr>
                <a:spLocks/>
              </p:cNvSpPr>
              <p:nvPr/>
            </p:nvSpPr>
            <p:spPr bwMode="auto">
              <a:xfrm>
                <a:off x="3573244" y="2399511"/>
                <a:ext cx="4970234" cy="3070160"/>
              </a:xfrm>
              <a:custGeom>
                <a:avLst/>
                <a:gdLst>
                  <a:gd name="T0" fmla="*/ 1572 w 1782"/>
                  <a:gd name="T1" fmla="*/ 494 h 1101"/>
                  <a:gd name="T2" fmla="*/ 1337 w 1782"/>
                  <a:gd name="T3" fmla="*/ 272 h 1101"/>
                  <a:gd name="T4" fmla="*/ 1230 w 1782"/>
                  <a:gd name="T5" fmla="*/ 298 h 1101"/>
                  <a:gd name="T6" fmla="*/ 1227 w 1782"/>
                  <a:gd name="T7" fmla="*/ 299 h 1101"/>
                  <a:gd name="T8" fmla="*/ 856 w 1782"/>
                  <a:gd name="T9" fmla="*/ 0 h 1101"/>
                  <a:gd name="T10" fmla="*/ 484 w 1782"/>
                  <a:gd name="T11" fmla="*/ 306 h 1101"/>
                  <a:gd name="T12" fmla="*/ 373 w 1782"/>
                  <a:gd name="T13" fmla="*/ 289 h 1101"/>
                  <a:gd name="T14" fmla="*/ 7 w 1782"/>
                  <a:gd name="T15" fmla="*/ 590 h 1101"/>
                  <a:gd name="T16" fmla="*/ 0 w 1782"/>
                  <a:gd name="T17" fmla="*/ 662 h 1101"/>
                  <a:gd name="T18" fmla="*/ 373 w 1782"/>
                  <a:gd name="T19" fmla="*/ 1035 h 1101"/>
                  <a:gd name="T20" fmla="*/ 597 w 1782"/>
                  <a:gd name="T21" fmla="*/ 960 h 1101"/>
                  <a:gd name="T22" fmla="*/ 837 w 1782"/>
                  <a:gd name="T23" fmla="*/ 1101 h 1101"/>
                  <a:gd name="T24" fmla="*/ 1063 w 1782"/>
                  <a:gd name="T25" fmla="*/ 983 h 1101"/>
                  <a:gd name="T26" fmla="*/ 1232 w 1782"/>
                  <a:gd name="T27" fmla="*/ 1040 h 1101"/>
                  <a:gd name="T28" fmla="*/ 1422 w 1782"/>
                  <a:gd name="T29" fmla="*/ 965 h 1101"/>
                  <a:gd name="T30" fmla="*/ 1532 w 1782"/>
                  <a:gd name="T31" fmla="*/ 991 h 1101"/>
                  <a:gd name="T32" fmla="*/ 1782 w 1782"/>
                  <a:gd name="T33" fmla="*/ 741 h 1101"/>
                  <a:gd name="T34" fmla="*/ 1572 w 1782"/>
                  <a:gd name="T35" fmla="*/ 494 h 1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82" h="1101">
                    <a:moveTo>
                      <a:pt x="1572" y="494"/>
                    </a:moveTo>
                    <a:cubicBezTo>
                      <a:pt x="1565" y="370"/>
                      <a:pt x="1462" y="272"/>
                      <a:pt x="1337" y="272"/>
                    </a:cubicBezTo>
                    <a:cubicBezTo>
                      <a:pt x="1298" y="272"/>
                      <a:pt x="1262" y="282"/>
                      <a:pt x="1230" y="298"/>
                    </a:cubicBezTo>
                    <a:cubicBezTo>
                      <a:pt x="1229" y="298"/>
                      <a:pt x="1228" y="299"/>
                      <a:pt x="1227" y="299"/>
                    </a:cubicBezTo>
                    <a:cubicBezTo>
                      <a:pt x="1190" y="128"/>
                      <a:pt x="1038" y="0"/>
                      <a:pt x="856" y="0"/>
                    </a:cubicBezTo>
                    <a:cubicBezTo>
                      <a:pt x="672" y="0"/>
                      <a:pt x="519" y="132"/>
                      <a:pt x="484" y="306"/>
                    </a:cubicBezTo>
                    <a:cubicBezTo>
                      <a:pt x="449" y="295"/>
                      <a:pt x="412" y="289"/>
                      <a:pt x="373" y="289"/>
                    </a:cubicBezTo>
                    <a:cubicBezTo>
                      <a:pt x="191" y="289"/>
                      <a:pt x="40" y="419"/>
                      <a:pt x="7" y="590"/>
                    </a:cubicBezTo>
                    <a:cubicBezTo>
                      <a:pt x="2" y="614"/>
                      <a:pt x="0" y="637"/>
                      <a:pt x="0" y="662"/>
                    </a:cubicBezTo>
                    <a:cubicBezTo>
                      <a:pt x="0" y="868"/>
                      <a:pt x="167" y="1035"/>
                      <a:pt x="373" y="1035"/>
                    </a:cubicBezTo>
                    <a:cubicBezTo>
                      <a:pt x="457" y="1035"/>
                      <a:pt x="534" y="1007"/>
                      <a:pt x="597" y="960"/>
                    </a:cubicBezTo>
                    <a:cubicBezTo>
                      <a:pt x="644" y="1044"/>
                      <a:pt x="734" y="1101"/>
                      <a:pt x="837" y="1101"/>
                    </a:cubicBezTo>
                    <a:cubicBezTo>
                      <a:pt x="931" y="1101"/>
                      <a:pt x="1014" y="1054"/>
                      <a:pt x="1063" y="983"/>
                    </a:cubicBezTo>
                    <a:cubicBezTo>
                      <a:pt x="1110" y="1019"/>
                      <a:pt x="1169" y="1040"/>
                      <a:pt x="1232" y="1040"/>
                    </a:cubicBezTo>
                    <a:cubicBezTo>
                      <a:pt x="1306" y="1040"/>
                      <a:pt x="1372" y="1012"/>
                      <a:pt x="1422" y="965"/>
                    </a:cubicBezTo>
                    <a:cubicBezTo>
                      <a:pt x="1455" y="981"/>
                      <a:pt x="1492" y="991"/>
                      <a:pt x="1532" y="991"/>
                    </a:cubicBezTo>
                    <a:cubicBezTo>
                      <a:pt x="1670" y="991"/>
                      <a:pt x="1782" y="879"/>
                      <a:pt x="1782" y="741"/>
                    </a:cubicBezTo>
                    <a:cubicBezTo>
                      <a:pt x="1782" y="616"/>
                      <a:pt x="1691" y="513"/>
                      <a:pt x="1572" y="494"/>
                    </a:cubicBezTo>
                    <a:close/>
                  </a:path>
                </a:pathLst>
              </a:custGeom>
              <a:solidFill>
                <a:srgbClr val="3F96C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31"/>
              <p:cNvSpPr>
                <a:spLocks/>
              </p:cNvSpPr>
              <p:nvPr/>
            </p:nvSpPr>
            <p:spPr bwMode="auto">
              <a:xfrm>
                <a:off x="3757144" y="2500789"/>
                <a:ext cx="4642318" cy="2867604"/>
              </a:xfrm>
              <a:custGeom>
                <a:avLst/>
                <a:gdLst>
                  <a:gd name="T0" fmla="*/ 1572 w 1782"/>
                  <a:gd name="T1" fmla="*/ 494 h 1101"/>
                  <a:gd name="T2" fmla="*/ 1337 w 1782"/>
                  <a:gd name="T3" fmla="*/ 272 h 1101"/>
                  <a:gd name="T4" fmla="*/ 1230 w 1782"/>
                  <a:gd name="T5" fmla="*/ 298 h 1101"/>
                  <a:gd name="T6" fmla="*/ 1227 w 1782"/>
                  <a:gd name="T7" fmla="*/ 299 h 1101"/>
                  <a:gd name="T8" fmla="*/ 856 w 1782"/>
                  <a:gd name="T9" fmla="*/ 0 h 1101"/>
                  <a:gd name="T10" fmla="*/ 484 w 1782"/>
                  <a:gd name="T11" fmla="*/ 306 h 1101"/>
                  <a:gd name="T12" fmla="*/ 373 w 1782"/>
                  <a:gd name="T13" fmla="*/ 289 h 1101"/>
                  <a:gd name="T14" fmla="*/ 7 w 1782"/>
                  <a:gd name="T15" fmla="*/ 590 h 1101"/>
                  <a:gd name="T16" fmla="*/ 0 w 1782"/>
                  <a:gd name="T17" fmla="*/ 662 h 1101"/>
                  <a:gd name="T18" fmla="*/ 373 w 1782"/>
                  <a:gd name="T19" fmla="*/ 1035 h 1101"/>
                  <a:gd name="T20" fmla="*/ 597 w 1782"/>
                  <a:gd name="T21" fmla="*/ 960 h 1101"/>
                  <a:gd name="T22" fmla="*/ 837 w 1782"/>
                  <a:gd name="T23" fmla="*/ 1101 h 1101"/>
                  <a:gd name="T24" fmla="*/ 1063 w 1782"/>
                  <a:gd name="T25" fmla="*/ 983 h 1101"/>
                  <a:gd name="T26" fmla="*/ 1232 w 1782"/>
                  <a:gd name="T27" fmla="*/ 1040 h 1101"/>
                  <a:gd name="T28" fmla="*/ 1422 w 1782"/>
                  <a:gd name="T29" fmla="*/ 965 h 1101"/>
                  <a:gd name="T30" fmla="*/ 1532 w 1782"/>
                  <a:gd name="T31" fmla="*/ 991 h 1101"/>
                  <a:gd name="T32" fmla="*/ 1782 w 1782"/>
                  <a:gd name="T33" fmla="*/ 741 h 1101"/>
                  <a:gd name="T34" fmla="*/ 1572 w 1782"/>
                  <a:gd name="T35" fmla="*/ 494 h 1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82" h="1101">
                    <a:moveTo>
                      <a:pt x="1572" y="494"/>
                    </a:moveTo>
                    <a:cubicBezTo>
                      <a:pt x="1565" y="370"/>
                      <a:pt x="1462" y="272"/>
                      <a:pt x="1337" y="272"/>
                    </a:cubicBezTo>
                    <a:cubicBezTo>
                      <a:pt x="1298" y="272"/>
                      <a:pt x="1262" y="282"/>
                      <a:pt x="1230" y="298"/>
                    </a:cubicBezTo>
                    <a:cubicBezTo>
                      <a:pt x="1229" y="298"/>
                      <a:pt x="1228" y="299"/>
                      <a:pt x="1227" y="299"/>
                    </a:cubicBezTo>
                    <a:cubicBezTo>
                      <a:pt x="1190" y="128"/>
                      <a:pt x="1038" y="0"/>
                      <a:pt x="856" y="0"/>
                    </a:cubicBezTo>
                    <a:cubicBezTo>
                      <a:pt x="672" y="0"/>
                      <a:pt x="519" y="132"/>
                      <a:pt x="484" y="306"/>
                    </a:cubicBezTo>
                    <a:cubicBezTo>
                      <a:pt x="449" y="295"/>
                      <a:pt x="412" y="289"/>
                      <a:pt x="373" y="289"/>
                    </a:cubicBezTo>
                    <a:cubicBezTo>
                      <a:pt x="191" y="289"/>
                      <a:pt x="40" y="419"/>
                      <a:pt x="7" y="590"/>
                    </a:cubicBezTo>
                    <a:cubicBezTo>
                      <a:pt x="2" y="614"/>
                      <a:pt x="0" y="637"/>
                      <a:pt x="0" y="662"/>
                    </a:cubicBezTo>
                    <a:cubicBezTo>
                      <a:pt x="0" y="868"/>
                      <a:pt x="167" y="1035"/>
                      <a:pt x="373" y="1035"/>
                    </a:cubicBezTo>
                    <a:cubicBezTo>
                      <a:pt x="457" y="1035"/>
                      <a:pt x="534" y="1007"/>
                      <a:pt x="597" y="960"/>
                    </a:cubicBezTo>
                    <a:cubicBezTo>
                      <a:pt x="644" y="1044"/>
                      <a:pt x="734" y="1101"/>
                      <a:pt x="837" y="1101"/>
                    </a:cubicBezTo>
                    <a:cubicBezTo>
                      <a:pt x="931" y="1101"/>
                      <a:pt x="1014" y="1054"/>
                      <a:pt x="1063" y="983"/>
                    </a:cubicBezTo>
                    <a:cubicBezTo>
                      <a:pt x="1110" y="1019"/>
                      <a:pt x="1169" y="1040"/>
                      <a:pt x="1232" y="1040"/>
                    </a:cubicBezTo>
                    <a:cubicBezTo>
                      <a:pt x="1306" y="1040"/>
                      <a:pt x="1372" y="1012"/>
                      <a:pt x="1422" y="965"/>
                    </a:cubicBezTo>
                    <a:cubicBezTo>
                      <a:pt x="1455" y="981"/>
                      <a:pt x="1492" y="991"/>
                      <a:pt x="1532" y="991"/>
                    </a:cubicBezTo>
                    <a:cubicBezTo>
                      <a:pt x="1670" y="991"/>
                      <a:pt x="1782" y="879"/>
                      <a:pt x="1782" y="741"/>
                    </a:cubicBezTo>
                    <a:cubicBezTo>
                      <a:pt x="1782" y="616"/>
                      <a:pt x="1691" y="513"/>
                      <a:pt x="1572" y="494"/>
                    </a:cubicBezTo>
                    <a:close/>
                  </a:path>
                </a:pathLst>
              </a:custGeom>
              <a:solidFill>
                <a:srgbClr val="2D3E50"/>
              </a:solidFill>
              <a:ln>
                <a:solidFill>
                  <a:srgbClr val="3F96C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" name="Rechteck 8"/>
              <p:cNvSpPr/>
              <p:nvPr/>
            </p:nvSpPr>
            <p:spPr>
              <a:xfrm>
                <a:off x="4763267" y="3683612"/>
                <a:ext cx="2598706" cy="10738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de-DE" sz="5400" noProof="1">
                    <a:solidFill>
                      <a:schemeClr val="bg1"/>
                    </a:solidFill>
                    <a:latin typeface="Calibri Light" panose="020F0302020204030204" pitchFamily="34" charset="0"/>
                  </a:rPr>
                  <a:t>CLOUD</a:t>
                </a:r>
                <a:endParaRPr lang="de-DE" sz="6000" dirty="0">
                  <a:solidFill>
                    <a:schemeClr val="bg1"/>
                  </a:solidFill>
                </a:endParaRPr>
              </a:p>
            </p:txBody>
          </p:sp>
        </p:grpSp>
      </p:grpSp>
      <p:pic>
        <p:nvPicPr>
          <p:cNvPr id="104" name="Picture 10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31" r="23035" b="10053"/>
          <a:stretch/>
        </p:blipFill>
        <p:spPr>
          <a:xfrm>
            <a:off x="3614436" y="1286717"/>
            <a:ext cx="4423675" cy="4354790"/>
          </a:xfrm>
          <a:prstGeom prst="flowChartConnector">
            <a:avLst/>
          </a:prstGeom>
          <a:solidFill>
            <a:srgbClr val="FFFF00"/>
          </a:solidFill>
        </p:spPr>
      </p:pic>
      <p:sp>
        <p:nvSpPr>
          <p:cNvPr id="3" name="TextBox 2"/>
          <p:cNvSpPr txBox="1"/>
          <p:nvPr/>
        </p:nvSpPr>
        <p:spPr>
          <a:xfrm>
            <a:off x="2773894" y="535034"/>
            <a:ext cx="145584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/>
              <a:t>GEN Y</a:t>
            </a:r>
            <a:endParaRPr lang="en-US" sz="4000" dirty="0"/>
          </a:p>
        </p:txBody>
      </p:sp>
      <p:sp>
        <p:nvSpPr>
          <p:cNvPr id="10" name="Cloud Callout 9"/>
          <p:cNvSpPr/>
          <p:nvPr/>
        </p:nvSpPr>
        <p:spPr>
          <a:xfrm>
            <a:off x="5040976" y="243372"/>
            <a:ext cx="3290068" cy="2240674"/>
          </a:xfrm>
          <a:prstGeom prst="cloudCallou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 dirty="0" smtClean="0">
                <a:solidFill>
                  <a:srgbClr val="FF0000"/>
                </a:solidFill>
              </a:rPr>
              <a:t>DEK PREDDDDDDD</a:t>
            </a:r>
          </a:p>
          <a:p>
            <a:pPr algn="ctr"/>
            <a:r>
              <a:rPr lang="en-US" sz="2400" b="1" dirty="0" smtClean="0">
                <a:solidFill>
                  <a:schemeClr val="tx1"/>
                </a:solidFill>
              </a:rPr>
              <a:t>^&amp;(*&amp;^$%^#@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1" name="Oval Callout 10"/>
          <p:cNvSpPr/>
          <p:nvPr/>
        </p:nvSpPr>
        <p:spPr>
          <a:xfrm>
            <a:off x="7352452" y="1785645"/>
            <a:ext cx="1919717" cy="1169724"/>
          </a:xfrm>
          <a:prstGeom prst="wedgeEllipseCallout">
            <a:avLst>
              <a:gd name="adj1" fmla="val -120163"/>
              <a:gd name="adj2" fmla="val 6642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 LOVE YOUUU</a:t>
            </a:r>
            <a:endParaRPr lang="en-US" dirty="0"/>
          </a:p>
        </p:txBody>
      </p:sp>
      <p:sp>
        <p:nvSpPr>
          <p:cNvPr id="105" name="Oval Callout 104"/>
          <p:cNvSpPr/>
          <p:nvPr/>
        </p:nvSpPr>
        <p:spPr>
          <a:xfrm>
            <a:off x="1079045" y="1345120"/>
            <a:ext cx="2971263" cy="1380375"/>
          </a:xfrm>
          <a:prstGeom prst="wedgeEllipseCallout">
            <a:avLst>
              <a:gd name="adj1" fmla="val 69373"/>
              <a:gd name="adj2" fmla="val 93299"/>
            </a:avLst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solidFill>
                  <a:schemeClr val="tx1"/>
                </a:solidFill>
              </a:rPr>
              <a:t>TALENTED BUNCH!!</a:t>
            </a:r>
            <a:endParaRPr lang="en-US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770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0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0&quot;/&gt;&lt;/m_mruColor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ZHfOgDPkq8DBsxdehq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ZHfOgDPkq8DBsxdehq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ZHfOgDPkq8DBsxdehqf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 asean</Template>
  <TotalTime>624</TotalTime>
  <Words>524</Words>
  <Application>Microsoft Office PowerPoint</Application>
  <PresentationFormat>Custom</PresentationFormat>
  <Paragraphs>136</Paragraphs>
  <Slides>35</Slides>
  <Notes>9</Notes>
  <HiddenSlides>0</HiddenSlides>
  <MMClips>2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37" baseType="lpstr"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OTHER’S DA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ould You Pay $1,000 Once to Get Free Beer for Life?</vt:lpstr>
      <vt:lpstr>Haryana bridg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suta Jaengprajak</dc:creator>
  <cp:lastModifiedBy>admin</cp:lastModifiedBy>
  <cp:revision>87</cp:revision>
  <dcterms:created xsi:type="dcterms:W3CDTF">2015-09-04T02:24:32Z</dcterms:created>
  <dcterms:modified xsi:type="dcterms:W3CDTF">2015-09-05T03:01:00Z</dcterms:modified>
</cp:coreProperties>
</file>